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3" r:id="rId1"/>
    <p:sldMasterId id="2147483850" r:id="rId2"/>
  </p:sldMasterIdLst>
  <p:notesMasterIdLst>
    <p:notesMasterId r:id="rId4"/>
  </p:notesMasterIdLst>
  <p:handoutMasterIdLst>
    <p:handoutMasterId r:id="rId5"/>
  </p:handoutMasterIdLst>
  <p:sldIdLst>
    <p:sldId id="831" r:id="rId3"/>
  </p:sldIdLst>
  <p:sldSz cx="6858000" cy="9906000" type="A4"/>
  <p:notesSz cx="6794500" cy="9931400"/>
  <p:defaultTextStyle>
    <a:defPPr>
      <a:defRPr lang="ru-RU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72" userDrawn="1">
          <p15:clr>
            <a:srgbClr val="A4A3A4"/>
          </p15:clr>
        </p15:guide>
        <p15:guide id="2" pos="164" userDrawn="1">
          <p15:clr>
            <a:srgbClr val="A4A3A4"/>
          </p15:clr>
        </p15:guide>
        <p15:guide id="3" orient="horz" pos="2235" userDrawn="1">
          <p15:clr>
            <a:srgbClr val="A4A3A4"/>
          </p15:clr>
        </p15:guide>
        <p15:guide id="4" orient="horz" pos="3120" userDrawn="1">
          <p15:clr>
            <a:srgbClr val="A4A3A4"/>
          </p15:clr>
        </p15:guide>
        <p15:guide id="5" pos="4156" userDrawn="1">
          <p15:clr>
            <a:srgbClr val="A4A3A4"/>
          </p15:clr>
        </p15:guide>
        <p15:guide id="6" orient="horz" pos="1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van" initials="I" lastIdx="2" clrIdx="0"/>
  <p:cmAuthor id="2" name="Смирнов Владимир Владимирович" initials="СВВ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1428"/>
    <a:srgbClr val="F2F2F2"/>
    <a:srgbClr val="2E2E2E"/>
    <a:srgbClr val="F5F7F9"/>
    <a:srgbClr val="F9F9F9"/>
    <a:srgbClr val="152C58"/>
    <a:srgbClr val="2F7075"/>
    <a:srgbClr val="F0F0F0"/>
    <a:srgbClr val="EFEFE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46" autoAdjust="0"/>
    <p:restoredTop sz="95262" autoAdjust="0"/>
  </p:normalViewPr>
  <p:slideViewPr>
    <p:cSldViewPr snapToGrid="0">
      <p:cViewPr>
        <p:scale>
          <a:sx n="100" d="100"/>
          <a:sy n="100" d="100"/>
        </p:scale>
        <p:origin x="-1296" y="900"/>
      </p:cViewPr>
      <p:guideLst>
        <p:guide orient="horz" pos="172"/>
        <p:guide orient="horz" pos="2235"/>
        <p:guide orient="horz" pos="3120"/>
        <p:guide orient="horz" pos="126"/>
        <p:guide pos="164"/>
        <p:guide pos="415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3" d="100"/>
        <a:sy n="73" d="100"/>
      </p:scale>
      <p:origin x="0" y="0"/>
    </p:cViewPr>
  </p:sorterViewPr>
  <p:notesViewPr>
    <p:cSldViewPr snapToGrid="0">
      <p:cViewPr varScale="1">
        <p:scale>
          <a:sx n="58" d="100"/>
          <a:sy n="58" d="100"/>
        </p:scale>
        <p:origin x="3254" y="67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8100" y="0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1F1C02-0FE7-4C5F-8EA2-19392B01EFC1}" type="datetimeFigureOut">
              <a:rPr lang="ru-RU" smtClean="0"/>
              <a:t>11.05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2925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8100" y="9432925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D3B499-F2C5-4A14-9638-037A3760BE4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615499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E5A8CA-14CE-4B1B-AA3F-D7B83B270BB0}" type="datetimeFigureOut">
              <a:rPr lang="ru-RU" smtClean="0"/>
              <a:t>11.05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108200" y="744538"/>
            <a:ext cx="25781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5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CFDE2A-9FAB-4DFF-BC78-19A3310243C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147228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0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CEA09F77-B749-4F9F-BB0C-C8E855654ECE}" type="slidenum">
              <a:rPr lang="ru-RU" altLang="ru-RU" smtClean="0"/>
              <a:pPr/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086421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http://522A148828777E6CA3D66DFC1543C5F6.dms.sberbank.ru/522A148828777E6CA3D66DFC1543C5F6-1D846AA072F743AD1555F56CEEB1F010-6CC5D061F40C218A48E9BE4A1A2DA624/1.png" TargetMode="External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D1B12DE-4EC1-4FB1-8606-1F019AF72BC4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1" y="1197891"/>
            <a:ext cx="6858000" cy="18717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26240" rIns="52479" bIns="26240" rtlCol="0" anchor="ctr"/>
          <a:lstStyle/>
          <a:p>
            <a:pPr algn="ctr" defTabSz="514350" fontAlgn="base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5511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2" y="660400"/>
            <a:ext cx="2211883" cy="23114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915544" y="1426283"/>
            <a:ext cx="3471863" cy="7039681"/>
          </a:xfrm>
        </p:spPr>
        <p:txBody>
          <a:bodyPr/>
          <a:lstStyle>
            <a:lvl1pPr>
              <a:defRPr sz="1800"/>
            </a:lvl1pPr>
            <a:lvl2pPr>
              <a:defRPr sz="1575"/>
            </a:lvl2pPr>
            <a:lvl3pPr>
              <a:defRPr sz="13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2382" y="2971800"/>
            <a:ext cx="2211883" cy="5505627"/>
          </a:xfrm>
        </p:spPr>
        <p:txBody>
          <a:bodyPr/>
          <a:lstStyle>
            <a:lvl1pPr marL="0" indent="0">
              <a:buNone/>
              <a:defRPr sz="900"/>
            </a:lvl1pPr>
            <a:lvl2pPr marL="257175" indent="0">
              <a:buNone/>
              <a:defRPr sz="788"/>
            </a:lvl2pPr>
            <a:lvl3pPr marL="514350" indent="0">
              <a:buNone/>
              <a:defRPr sz="675"/>
            </a:lvl3pPr>
            <a:lvl4pPr marL="771525" indent="0">
              <a:buNone/>
              <a:defRPr sz="563"/>
            </a:lvl4pPr>
            <a:lvl5pPr marL="1028700" indent="0">
              <a:buNone/>
              <a:defRPr sz="563"/>
            </a:lvl5pPr>
            <a:lvl6pPr marL="1285875" indent="0">
              <a:buNone/>
              <a:defRPr sz="563"/>
            </a:lvl6pPr>
            <a:lvl7pPr marL="1543050" indent="0">
              <a:buNone/>
              <a:defRPr sz="563"/>
            </a:lvl7pPr>
            <a:lvl8pPr marL="1800225" indent="0">
              <a:buNone/>
              <a:defRPr sz="563"/>
            </a:lvl8pPr>
            <a:lvl9pPr marL="2057400" indent="0">
              <a:buNone/>
              <a:defRPr sz="56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3E0B58-122F-4B86-BCF0-E73650A51BB8}" type="datetimeFigureOut">
              <a:rPr lang="ru-RU" smtClean="0"/>
              <a:pPr>
                <a:defRPr/>
              </a:pPr>
              <a:t>11.05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66AD9C-4E01-4E8D-B0E5-1D490C5E43E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10" name="Рисунок 9" descr="http://522A148828777E6CA3D66DFC1543C5F6.dms.sberbank.ru/522A148828777E6CA3D66DFC1543C5F6-1D846AA072F743AD1555F56CEEB1F010-6CC5D061F40C218A48E9BE4A1A2DA624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8969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2" y="660400"/>
            <a:ext cx="2211883" cy="23114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915544" y="1426283"/>
            <a:ext cx="3471863" cy="7039681"/>
          </a:xfrm>
        </p:spPr>
        <p:txBody>
          <a:bodyPr rtlCol="0">
            <a:normAutofit/>
          </a:bodyPr>
          <a:lstStyle>
            <a:lvl1pPr marL="0" indent="0">
              <a:buNone/>
              <a:defRPr sz="1800"/>
            </a:lvl1pPr>
            <a:lvl2pPr marL="257175" indent="0">
              <a:buNone/>
              <a:defRPr sz="1575"/>
            </a:lvl2pPr>
            <a:lvl3pPr marL="514350" indent="0">
              <a:buNone/>
              <a:defRPr sz="1350"/>
            </a:lvl3pPr>
            <a:lvl4pPr marL="771525" indent="0">
              <a:buNone/>
              <a:defRPr sz="1125"/>
            </a:lvl4pPr>
            <a:lvl5pPr marL="1028700" indent="0">
              <a:buNone/>
              <a:defRPr sz="1125"/>
            </a:lvl5pPr>
            <a:lvl6pPr marL="1285875" indent="0">
              <a:buNone/>
              <a:defRPr sz="1125"/>
            </a:lvl6pPr>
            <a:lvl7pPr marL="1543050" indent="0">
              <a:buNone/>
              <a:defRPr sz="1125"/>
            </a:lvl7pPr>
            <a:lvl8pPr marL="1800225" indent="0">
              <a:buNone/>
              <a:defRPr sz="1125"/>
            </a:lvl8pPr>
            <a:lvl9pPr marL="2057400" indent="0">
              <a:buNone/>
              <a:defRPr sz="1125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2382" y="2971800"/>
            <a:ext cx="2211883" cy="5505627"/>
          </a:xfrm>
        </p:spPr>
        <p:txBody>
          <a:bodyPr/>
          <a:lstStyle>
            <a:lvl1pPr marL="0" indent="0">
              <a:buNone/>
              <a:defRPr sz="900"/>
            </a:lvl1pPr>
            <a:lvl2pPr marL="257175" indent="0">
              <a:buNone/>
              <a:defRPr sz="788"/>
            </a:lvl2pPr>
            <a:lvl3pPr marL="514350" indent="0">
              <a:buNone/>
              <a:defRPr sz="675"/>
            </a:lvl3pPr>
            <a:lvl4pPr marL="771525" indent="0">
              <a:buNone/>
              <a:defRPr sz="563"/>
            </a:lvl4pPr>
            <a:lvl5pPr marL="1028700" indent="0">
              <a:buNone/>
              <a:defRPr sz="563"/>
            </a:lvl5pPr>
            <a:lvl6pPr marL="1285875" indent="0">
              <a:buNone/>
              <a:defRPr sz="563"/>
            </a:lvl6pPr>
            <a:lvl7pPr marL="1543050" indent="0">
              <a:buNone/>
              <a:defRPr sz="563"/>
            </a:lvl7pPr>
            <a:lvl8pPr marL="1800225" indent="0">
              <a:buNone/>
              <a:defRPr sz="563"/>
            </a:lvl8pPr>
            <a:lvl9pPr marL="2057400" indent="0">
              <a:buNone/>
              <a:defRPr sz="56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0AE391-A7FA-427B-9FBA-BA0AEE3C43F5}" type="datetimeFigureOut">
              <a:rPr lang="ru-RU" smtClean="0"/>
              <a:pPr>
                <a:defRPr/>
              </a:pPr>
              <a:t>11.05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0AC5BF-47B9-4140-A8BA-C4045F2649D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64484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F5799C-3B72-4D1E-8B22-4B87FBEDEEDE}" type="datetimeFigureOut">
              <a:rPr lang="ru-RU" smtClean="0"/>
              <a:pPr>
                <a:defRPr/>
              </a:pPr>
              <a:t>11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B2349-2E13-4FC9-8888-141FD6A2C05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5154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07756" y="527403"/>
            <a:ext cx="1478756" cy="839487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71487" y="527403"/>
            <a:ext cx="4350544" cy="839487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5F7E5A-87B7-4DC7-ABB3-617AF2DBF50A}" type="datetimeFigureOut">
              <a:rPr lang="ru-RU" smtClean="0"/>
              <a:pPr>
                <a:defRPr/>
              </a:pPr>
              <a:t>11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D52F02-46BC-4C07-A3CE-35AD3F497F5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56468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D8710F-1C7F-4B49-B8C2-7CC97AE5F4AD}" type="datetimeFigureOut">
              <a:rPr lang="ru-RU" smtClean="0"/>
              <a:pPr>
                <a:defRPr/>
              </a:pPr>
              <a:t>11.05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682D6B-7EE1-4DAE-93E0-2F56408FD6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4756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D1B12DE-4EC1-4FB1-8606-1F019AF72BC4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89041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57250" y="1621191"/>
            <a:ext cx="5143500" cy="3448756"/>
          </a:xfrm>
        </p:spPr>
        <p:txBody>
          <a:bodyPr anchor="b"/>
          <a:lstStyle>
            <a:lvl1pPr algn="ctr">
              <a:defRPr sz="33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350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B5833F-18B8-4D59-8AB1-7731BB1D7350}" type="datetimeFigureOut">
              <a:rPr lang="ru-RU" smtClean="0"/>
              <a:pPr>
                <a:defRPr/>
              </a:pPr>
              <a:t>11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1D9939-60F7-4A69-8955-94B069C5D7F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2450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74DE38-C043-427E-826D-87EC1FE0C2B1}" type="datetimeFigureOut">
              <a:rPr lang="ru-RU" smtClean="0"/>
              <a:pPr>
                <a:defRPr/>
              </a:pPr>
              <a:t>11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0F46B6-25A0-4312-A8D3-4F1BA9A8A01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52440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917" y="2469624"/>
            <a:ext cx="5915025" cy="4120620"/>
          </a:xfrm>
        </p:spPr>
        <p:txBody>
          <a:bodyPr anchor="b"/>
          <a:lstStyle>
            <a:lvl1pPr>
              <a:defRPr sz="33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7917" y="6629226"/>
            <a:ext cx="5915025" cy="2166937"/>
          </a:xfrm>
        </p:spPr>
        <p:txBody>
          <a:bodyPr/>
          <a:lstStyle>
            <a:lvl1pPr marL="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1pPr>
            <a:lvl2pPr marL="257175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2pPr>
            <a:lvl3pPr marL="514350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3pPr>
            <a:lvl4pPr marL="7715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287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8587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4305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8002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574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B52B56-91B3-4E56-B427-A53EB29A9280}" type="datetimeFigureOut">
              <a:rPr lang="ru-RU" smtClean="0"/>
              <a:pPr>
                <a:defRPr/>
              </a:pPr>
              <a:t>11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16BB3B-3487-495D-A537-7E06694B045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9675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FEDC50-8502-47D1-BAD0-02E2986A372F}" type="datetimeFigureOut">
              <a:rPr lang="ru-RU" smtClean="0"/>
              <a:pPr>
                <a:defRPr/>
              </a:pPr>
              <a:t>11.05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2AF4EE-1666-4012-8293-6D75CCE8004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57831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2" y="527405"/>
            <a:ext cx="5915025" cy="191470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471864" y="2428347"/>
            <a:ext cx="2915543" cy="1190095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471864" y="3618442"/>
            <a:ext cx="2915543" cy="532218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719580-4C9D-46B8-B708-87C8E41532C5}" type="datetimeFigureOut">
              <a:rPr lang="ru-RU" smtClean="0"/>
              <a:pPr>
                <a:defRPr/>
              </a:pPr>
              <a:t>11.05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6D36BB-91F0-4E05-8CA2-B02537E16F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16420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C9B7DD-E434-4B9E-AC65-48F08A915120}" type="datetimeFigureOut">
              <a:rPr lang="ru-RU" smtClean="0"/>
              <a:pPr>
                <a:defRPr/>
              </a:pPr>
              <a:t>11.05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08D8FD-6816-4CED-95F7-4FB95284CC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7632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F5C056-C86F-42F2-876C-2FEA3EF6B16E}" type="datetimeFigureOut">
              <a:rPr lang="ru-RU" smtClean="0"/>
              <a:pPr>
                <a:defRPr/>
              </a:pPr>
              <a:t>11.05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E2D504-DCDE-4FDC-A7A3-629D13A3207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26378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60208846"/>
              </p:ext>
            </p:extLst>
          </p:nvPr>
        </p:nvGraphicFramePr>
        <p:xfrm>
          <a:off x="912" y="2342"/>
          <a:ext cx="910" cy="2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12" y="2342"/>
                        <a:ext cx="910" cy="23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reeform 38"/>
          <p:cNvSpPr>
            <a:spLocks noEditPoints="1"/>
          </p:cNvSpPr>
          <p:nvPr/>
        </p:nvSpPr>
        <p:spPr bwMode="auto">
          <a:xfrm>
            <a:off x="6091926" y="553680"/>
            <a:ext cx="664093" cy="241827"/>
          </a:xfrm>
          <a:custGeom>
            <a:avLst/>
            <a:gdLst>
              <a:gd name="T0" fmla="*/ 494 w 517"/>
              <a:gd name="T1" fmla="*/ 71 h 72"/>
              <a:gd name="T2" fmla="*/ 481 w 517"/>
              <a:gd name="T3" fmla="*/ 22 h 72"/>
              <a:gd name="T4" fmla="*/ 512 w 517"/>
              <a:gd name="T5" fmla="*/ 1 h 72"/>
              <a:gd name="T6" fmla="*/ 493 w 517"/>
              <a:gd name="T7" fmla="*/ 40 h 72"/>
              <a:gd name="T8" fmla="*/ 451 w 517"/>
              <a:gd name="T9" fmla="*/ 1 h 72"/>
              <a:gd name="T10" fmla="*/ 470 w 517"/>
              <a:gd name="T11" fmla="*/ 9 h 72"/>
              <a:gd name="T12" fmla="*/ 474 w 517"/>
              <a:gd name="T13" fmla="*/ 71 h 72"/>
              <a:gd name="T14" fmla="*/ 455 w 517"/>
              <a:gd name="T15" fmla="*/ 63 h 72"/>
              <a:gd name="T16" fmla="*/ 394 w 517"/>
              <a:gd name="T17" fmla="*/ 35 h 72"/>
              <a:gd name="T18" fmla="*/ 398 w 517"/>
              <a:gd name="T19" fmla="*/ 71 h 72"/>
              <a:gd name="T20" fmla="*/ 380 w 517"/>
              <a:gd name="T21" fmla="*/ 63 h 72"/>
              <a:gd name="T22" fmla="*/ 376 w 517"/>
              <a:gd name="T23" fmla="*/ 1 h 72"/>
              <a:gd name="T24" fmla="*/ 394 w 517"/>
              <a:gd name="T25" fmla="*/ 9 h 72"/>
              <a:gd name="T26" fmla="*/ 421 w 517"/>
              <a:gd name="T27" fmla="*/ 9 h 72"/>
              <a:gd name="T28" fmla="*/ 440 w 517"/>
              <a:gd name="T29" fmla="*/ 1 h 72"/>
              <a:gd name="T30" fmla="*/ 436 w 517"/>
              <a:gd name="T31" fmla="*/ 63 h 72"/>
              <a:gd name="T32" fmla="*/ 417 w 517"/>
              <a:gd name="T33" fmla="*/ 71 h 72"/>
              <a:gd name="T34" fmla="*/ 421 w 517"/>
              <a:gd name="T35" fmla="*/ 35 h 72"/>
              <a:gd name="T36" fmla="*/ 324 w 517"/>
              <a:gd name="T37" fmla="*/ 41 h 72"/>
              <a:gd name="T38" fmla="*/ 348 w 517"/>
              <a:gd name="T39" fmla="*/ 54 h 72"/>
              <a:gd name="T40" fmla="*/ 318 w 517"/>
              <a:gd name="T41" fmla="*/ 62 h 72"/>
              <a:gd name="T42" fmla="*/ 313 w 517"/>
              <a:gd name="T43" fmla="*/ 50 h 72"/>
              <a:gd name="T44" fmla="*/ 325 w 517"/>
              <a:gd name="T45" fmla="*/ 3 h 72"/>
              <a:gd name="T46" fmla="*/ 348 w 517"/>
              <a:gd name="T47" fmla="*/ 11 h 72"/>
              <a:gd name="T48" fmla="*/ 352 w 517"/>
              <a:gd name="T49" fmla="*/ 71 h 72"/>
              <a:gd name="T50" fmla="*/ 271 w 517"/>
              <a:gd name="T51" fmla="*/ 30 h 72"/>
              <a:gd name="T52" fmla="*/ 271 w 517"/>
              <a:gd name="T53" fmla="*/ 66 h 72"/>
              <a:gd name="T54" fmla="*/ 265 w 517"/>
              <a:gd name="T55" fmla="*/ 9 h 72"/>
              <a:gd name="T56" fmla="*/ 301 w 517"/>
              <a:gd name="T57" fmla="*/ 47 h 72"/>
              <a:gd name="T58" fmla="*/ 246 w 517"/>
              <a:gd name="T59" fmla="*/ 68 h 72"/>
              <a:gd name="T60" fmla="*/ 246 w 517"/>
              <a:gd name="T61" fmla="*/ 3 h 72"/>
              <a:gd name="T62" fmla="*/ 298 w 517"/>
              <a:gd name="T63" fmla="*/ 16 h 72"/>
              <a:gd name="T64" fmla="*/ 279 w 517"/>
              <a:gd name="T65" fmla="*/ 5 h 72"/>
              <a:gd name="T66" fmla="*/ 224 w 517"/>
              <a:gd name="T67" fmla="*/ 20 h 72"/>
              <a:gd name="T68" fmla="*/ 205 w 517"/>
              <a:gd name="T69" fmla="*/ 9 h 72"/>
              <a:gd name="T70" fmla="*/ 186 w 517"/>
              <a:gd name="T71" fmla="*/ 71 h 72"/>
              <a:gd name="T72" fmla="*/ 190 w 517"/>
              <a:gd name="T73" fmla="*/ 9 h 72"/>
              <a:gd name="T74" fmla="*/ 215 w 517"/>
              <a:gd name="T75" fmla="*/ 1 h 72"/>
              <a:gd name="T76" fmla="*/ 205 w 517"/>
              <a:gd name="T77" fmla="*/ 43 h 72"/>
              <a:gd name="T78" fmla="*/ 209 w 517"/>
              <a:gd name="T79" fmla="*/ 71 h 72"/>
              <a:gd name="T80" fmla="*/ 146 w 517"/>
              <a:gd name="T81" fmla="*/ 8 h 72"/>
              <a:gd name="T82" fmla="*/ 168 w 517"/>
              <a:gd name="T83" fmla="*/ 28 h 72"/>
              <a:gd name="T84" fmla="*/ 146 w 517"/>
              <a:gd name="T85" fmla="*/ 35 h 72"/>
              <a:gd name="T86" fmla="*/ 159 w 517"/>
              <a:gd name="T87" fmla="*/ 66 h 72"/>
              <a:gd name="T88" fmla="*/ 177 w 517"/>
              <a:gd name="T89" fmla="*/ 54 h 72"/>
              <a:gd name="T90" fmla="*/ 127 w 517"/>
              <a:gd name="T91" fmla="*/ 68 h 72"/>
              <a:gd name="T92" fmla="*/ 127 w 517"/>
              <a:gd name="T93" fmla="*/ 3 h 72"/>
              <a:gd name="T94" fmla="*/ 176 w 517"/>
              <a:gd name="T95" fmla="*/ 16 h 72"/>
              <a:gd name="T96" fmla="*/ 157 w 517"/>
              <a:gd name="T97" fmla="*/ 5 h 72"/>
              <a:gd name="T98" fmla="*/ 104 w 517"/>
              <a:gd name="T99" fmla="*/ 48 h 72"/>
              <a:gd name="T100" fmla="*/ 83 w 517"/>
              <a:gd name="T101" fmla="*/ 60 h 72"/>
              <a:gd name="T102" fmla="*/ 88 w 517"/>
              <a:gd name="T103" fmla="*/ 5 h 72"/>
              <a:gd name="T104" fmla="*/ 86 w 517"/>
              <a:gd name="T105" fmla="*/ 26 h 72"/>
              <a:gd name="T106" fmla="*/ 64 w 517"/>
              <a:gd name="T107" fmla="*/ 71 h 72"/>
              <a:gd name="T108" fmla="*/ 68 w 517"/>
              <a:gd name="T109" fmla="*/ 9 h 72"/>
              <a:gd name="T110" fmla="*/ 116 w 517"/>
              <a:gd name="T111" fmla="*/ 1 h 72"/>
              <a:gd name="T112" fmla="*/ 111 w 517"/>
              <a:gd name="T113" fmla="*/ 13 h 72"/>
              <a:gd name="T114" fmla="*/ 55 w 517"/>
              <a:gd name="T115" fmla="*/ 61 h 72"/>
              <a:gd name="T116" fmla="*/ 0 w 517"/>
              <a:gd name="T117" fmla="*/ 37 h 72"/>
              <a:gd name="T118" fmla="*/ 55 w 517"/>
              <a:gd name="T119" fmla="*/ 17 h 72"/>
              <a:gd name="T120" fmla="*/ 35 w 517"/>
              <a:gd name="T121" fmla="*/ 4 h 72"/>
              <a:gd name="T122" fmla="*/ 55 w 517"/>
              <a:gd name="T123" fmla="*/ 61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17" h="72">
                <a:moveTo>
                  <a:pt x="493" y="40"/>
                </a:moveTo>
                <a:cubicBezTo>
                  <a:pt x="497" y="47"/>
                  <a:pt x="509" y="62"/>
                  <a:pt x="517" y="71"/>
                </a:cubicBezTo>
                <a:cubicBezTo>
                  <a:pt x="494" y="71"/>
                  <a:pt x="494" y="71"/>
                  <a:pt x="494" y="71"/>
                </a:cubicBezTo>
                <a:cubicBezTo>
                  <a:pt x="492" y="67"/>
                  <a:pt x="490" y="61"/>
                  <a:pt x="482" y="50"/>
                </a:cubicBezTo>
                <a:cubicBezTo>
                  <a:pt x="472" y="34"/>
                  <a:pt x="472" y="34"/>
                  <a:pt x="472" y="34"/>
                </a:cubicBezTo>
                <a:cubicBezTo>
                  <a:pt x="481" y="22"/>
                  <a:pt x="481" y="22"/>
                  <a:pt x="481" y="22"/>
                </a:cubicBezTo>
                <a:cubicBezTo>
                  <a:pt x="486" y="15"/>
                  <a:pt x="493" y="6"/>
                  <a:pt x="495" y="1"/>
                </a:cubicBezTo>
                <a:cubicBezTo>
                  <a:pt x="512" y="1"/>
                  <a:pt x="512" y="1"/>
                  <a:pt x="512" y="1"/>
                </a:cubicBezTo>
                <a:cubicBezTo>
                  <a:pt x="512" y="1"/>
                  <a:pt x="512" y="1"/>
                  <a:pt x="512" y="1"/>
                </a:cubicBezTo>
                <a:cubicBezTo>
                  <a:pt x="505" y="5"/>
                  <a:pt x="494" y="16"/>
                  <a:pt x="491" y="19"/>
                </a:cubicBezTo>
                <a:cubicBezTo>
                  <a:pt x="484" y="27"/>
                  <a:pt x="484" y="27"/>
                  <a:pt x="484" y="27"/>
                </a:cubicBezTo>
                <a:lnTo>
                  <a:pt x="493" y="40"/>
                </a:lnTo>
                <a:close/>
                <a:moveTo>
                  <a:pt x="455" y="9"/>
                </a:moveTo>
                <a:cubicBezTo>
                  <a:pt x="455" y="5"/>
                  <a:pt x="455" y="4"/>
                  <a:pt x="451" y="3"/>
                </a:cubicBezTo>
                <a:cubicBezTo>
                  <a:pt x="451" y="1"/>
                  <a:pt x="451" y="1"/>
                  <a:pt x="451" y="1"/>
                </a:cubicBezTo>
                <a:cubicBezTo>
                  <a:pt x="474" y="1"/>
                  <a:pt x="474" y="1"/>
                  <a:pt x="474" y="1"/>
                </a:cubicBezTo>
                <a:cubicBezTo>
                  <a:pt x="474" y="3"/>
                  <a:pt x="474" y="3"/>
                  <a:pt x="474" y="3"/>
                </a:cubicBezTo>
                <a:cubicBezTo>
                  <a:pt x="471" y="4"/>
                  <a:pt x="470" y="5"/>
                  <a:pt x="470" y="9"/>
                </a:cubicBezTo>
                <a:cubicBezTo>
                  <a:pt x="470" y="63"/>
                  <a:pt x="470" y="63"/>
                  <a:pt x="470" y="63"/>
                </a:cubicBezTo>
                <a:cubicBezTo>
                  <a:pt x="470" y="67"/>
                  <a:pt x="471" y="68"/>
                  <a:pt x="474" y="68"/>
                </a:cubicBezTo>
                <a:cubicBezTo>
                  <a:pt x="474" y="71"/>
                  <a:pt x="474" y="71"/>
                  <a:pt x="474" y="71"/>
                </a:cubicBezTo>
                <a:cubicBezTo>
                  <a:pt x="451" y="71"/>
                  <a:pt x="451" y="71"/>
                  <a:pt x="451" y="71"/>
                </a:cubicBezTo>
                <a:cubicBezTo>
                  <a:pt x="451" y="68"/>
                  <a:pt x="451" y="68"/>
                  <a:pt x="451" y="68"/>
                </a:cubicBezTo>
                <a:cubicBezTo>
                  <a:pt x="455" y="68"/>
                  <a:pt x="455" y="67"/>
                  <a:pt x="455" y="63"/>
                </a:cubicBezTo>
                <a:lnTo>
                  <a:pt x="455" y="9"/>
                </a:lnTo>
                <a:close/>
                <a:moveTo>
                  <a:pt x="421" y="35"/>
                </a:moveTo>
                <a:cubicBezTo>
                  <a:pt x="394" y="35"/>
                  <a:pt x="394" y="35"/>
                  <a:pt x="394" y="35"/>
                </a:cubicBezTo>
                <a:cubicBezTo>
                  <a:pt x="394" y="63"/>
                  <a:pt x="394" y="63"/>
                  <a:pt x="394" y="63"/>
                </a:cubicBezTo>
                <a:cubicBezTo>
                  <a:pt x="394" y="67"/>
                  <a:pt x="395" y="68"/>
                  <a:pt x="398" y="68"/>
                </a:cubicBezTo>
                <a:cubicBezTo>
                  <a:pt x="398" y="71"/>
                  <a:pt x="398" y="71"/>
                  <a:pt x="398" y="71"/>
                </a:cubicBezTo>
                <a:cubicBezTo>
                  <a:pt x="376" y="71"/>
                  <a:pt x="376" y="71"/>
                  <a:pt x="376" y="71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9" y="68"/>
                  <a:pt x="380" y="67"/>
                  <a:pt x="380" y="63"/>
                </a:cubicBezTo>
                <a:cubicBezTo>
                  <a:pt x="380" y="9"/>
                  <a:pt x="380" y="9"/>
                  <a:pt x="380" y="9"/>
                </a:cubicBezTo>
                <a:cubicBezTo>
                  <a:pt x="380" y="5"/>
                  <a:pt x="379" y="4"/>
                  <a:pt x="376" y="3"/>
                </a:cubicBezTo>
                <a:cubicBezTo>
                  <a:pt x="376" y="1"/>
                  <a:pt x="376" y="1"/>
                  <a:pt x="376" y="1"/>
                </a:cubicBezTo>
                <a:cubicBezTo>
                  <a:pt x="398" y="1"/>
                  <a:pt x="398" y="1"/>
                  <a:pt x="398" y="1"/>
                </a:cubicBezTo>
                <a:cubicBezTo>
                  <a:pt x="398" y="3"/>
                  <a:pt x="398" y="3"/>
                  <a:pt x="398" y="3"/>
                </a:cubicBezTo>
                <a:cubicBezTo>
                  <a:pt x="395" y="4"/>
                  <a:pt x="394" y="5"/>
                  <a:pt x="394" y="9"/>
                </a:cubicBezTo>
                <a:cubicBezTo>
                  <a:pt x="394" y="30"/>
                  <a:pt x="394" y="30"/>
                  <a:pt x="394" y="30"/>
                </a:cubicBezTo>
                <a:cubicBezTo>
                  <a:pt x="421" y="30"/>
                  <a:pt x="421" y="30"/>
                  <a:pt x="421" y="30"/>
                </a:cubicBezTo>
                <a:cubicBezTo>
                  <a:pt x="421" y="9"/>
                  <a:pt x="421" y="9"/>
                  <a:pt x="421" y="9"/>
                </a:cubicBezTo>
                <a:cubicBezTo>
                  <a:pt x="421" y="5"/>
                  <a:pt x="421" y="4"/>
                  <a:pt x="417" y="3"/>
                </a:cubicBezTo>
                <a:cubicBezTo>
                  <a:pt x="417" y="1"/>
                  <a:pt x="417" y="1"/>
                  <a:pt x="417" y="1"/>
                </a:cubicBezTo>
                <a:cubicBezTo>
                  <a:pt x="440" y="1"/>
                  <a:pt x="440" y="1"/>
                  <a:pt x="440" y="1"/>
                </a:cubicBezTo>
                <a:cubicBezTo>
                  <a:pt x="440" y="3"/>
                  <a:pt x="440" y="3"/>
                  <a:pt x="440" y="3"/>
                </a:cubicBezTo>
                <a:cubicBezTo>
                  <a:pt x="437" y="4"/>
                  <a:pt x="436" y="5"/>
                  <a:pt x="436" y="9"/>
                </a:cubicBezTo>
                <a:cubicBezTo>
                  <a:pt x="436" y="63"/>
                  <a:pt x="436" y="63"/>
                  <a:pt x="436" y="63"/>
                </a:cubicBezTo>
                <a:cubicBezTo>
                  <a:pt x="436" y="67"/>
                  <a:pt x="437" y="68"/>
                  <a:pt x="440" y="68"/>
                </a:cubicBezTo>
                <a:cubicBezTo>
                  <a:pt x="440" y="71"/>
                  <a:pt x="440" y="71"/>
                  <a:pt x="440" y="71"/>
                </a:cubicBezTo>
                <a:cubicBezTo>
                  <a:pt x="417" y="71"/>
                  <a:pt x="417" y="71"/>
                  <a:pt x="417" y="71"/>
                </a:cubicBezTo>
                <a:cubicBezTo>
                  <a:pt x="417" y="68"/>
                  <a:pt x="417" y="68"/>
                  <a:pt x="417" y="68"/>
                </a:cubicBezTo>
                <a:cubicBezTo>
                  <a:pt x="421" y="68"/>
                  <a:pt x="421" y="67"/>
                  <a:pt x="421" y="63"/>
                </a:cubicBezTo>
                <a:lnTo>
                  <a:pt x="421" y="35"/>
                </a:lnTo>
                <a:close/>
                <a:moveTo>
                  <a:pt x="343" y="41"/>
                </a:moveTo>
                <a:cubicBezTo>
                  <a:pt x="334" y="13"/>
                  <a:pt x="334" y="13"/>
                  <a:pt x="334" y="13"/>
                </a:cubicBezTo>
                <a:cubicBezTo>
                  <a:pt x="324" y="41"/>
                  <a:pt x="324" y="41"/>
                  <a:pt x="324" y="41"/>
                </a:cubicBezTo>
                <a:lnTo>
                  <a:pt x="343" y="41"/>
                </a:lnTo>
                <a:close/>
                <a:moveTo>
                  <a:pt x="352" y="71"/>
                </a:moveTo>
                <a:cubicBezTo>
                  <a:pt x="352" y="67"/>
                  <a:pt x="350" y="60"/>
                  <a:pt x="348" y="54"/>
                </a:cubicBezTo>
                <a:cubicBezTo>
                  <a:pt x="345" y="45"/>
                  <a:pt x="345" y="45"/>
                  <a:pt x="345" y="45"/>
                </a:cubicBezTo>
                <a:cubicBezTo>
                  <a:pt x="323" y="45"/>
                  <a:pt x="323" y="45"/>
                  <a:pt x="323" y="45"/>
                </a:cubicBezTo>
                <a:cubicBezTo>
                  <a:pt x="320" y="52"/>
                  <a:pt x="319" y="58"/>
                  <a:pt x="318" y="62"/>
                </a:cubicBezTo>
                <a:cubicBezTo>
                  <a:pt x="317" y="66"/>
                  <a:pt x="316" y="69"/>
                  <a:pt x="316" y="71"/>
                </a:cubicBezTo>
                <a:cubicBezTo>
                  <a:pt x="303" y="71"/>
                  <a:pt x="303" y="71"/>
                  <a:pt x="303" y="71"/>
                </a:cubicBezTo>
                <a:cubicBezTo>
                  <a:pt x="305" y="68"/>
                  <a:pt x="308" y="62"/>
                  <a:pt x="313" y="50"/>
                </a:cubicBezTo>
                <a:cubicBezTo>
                  <a:pt x="326" y="18"/>
                  <a:pt x="326" y="18"/>
                  <a:pt x="326" y="18"/>
                </a:cubicBezTo>
                <a:cubicBezTo>
                  <a:pt x="329" y="11"/>
                  <a:pt x="329" y="9"/>
                  <a:pt x="329" y="7"/>
                </a:cubicBezTo>
                <a:cubicBezTo>
                  <a:pt x="329" y="6"/>
                  <a:pt x="329" y="4"/>
                  <a:pt x="325" y="3"/>
                </a:cubicBezTo>
                <a:cubicBezTo>
                  <a:pt x="325" y="1"/>
                  <a:pt x="325" y="1"/>
                  <a:pt x="325" y="1"/>
                </a:cubicBezTo>
                <a:cubicBezTo>
                  <a:pt x="345" y="1"/>
                  <a:pt x="345" y="1"/>
                  <a:pt x="345" y="1"/>
                </a:cubicBezTo>
                <a:cubicBezTo>
                  <a:pt x="346" y="3"/>
                  <a:pt x="346" y="5"/>
                  <a:pt x="348" y="11"/>
                </a:cubicBezTo>
                <a:cubicBezTo>
                  <a:pt x="363" y="53"/>
                  <a:pt x="363" y="53"/>
                  <a:pt x="363" y="53"/>
                </a:cubicBezTo>
                <a:cubicBezTo>
                  <a:pt x="366" y="61"/>
                  <a:pt x="369" y="68"/>
                  <a:pt x="370" y="71"/>
                </a:cubicBezTo>
                <a:lnTo>
                  <a:pt x="352" y="71"/>
                </a:lnTo>
                <a:close/>
                <a:moveTo>
                  <a:pt x="273" y="66"/>
                </a:moveTo>
                <a:cubicBezTo>
                  <a:pt x="282" y="66"/>
                  <a:pt x="286" y="60"/>
                  <a:pt x="286" y="48"/>
                </a:cubicBezTo>
                <a:cubicBezTo>
                  <a:pt x="286" y="37"/>
                  <a:pt x="283" y="30"/>
                  <a:pt x="271" y="30"/>
                </a:cubicBezTo>
                <a:cubicBezTo>
                  <a:pt x="265" y="30"/>
                  <a:pt x="265" y="30"/>
                  <a:pt x="265" y="30"/>
                </a:cubicBezTo>
                <a:cubicBezTo>
                  <a:pt x="265" y="60"/>
                  <a:pt x="265" y="60"/>
                  <a:pt x="265" y="60"/>
                </a:cubicBezTo>
                <a:cubicBezTo>
                  <a:pt x="265" y="65"/>
                  <a:pt x="266" y="66"/>
                  <a:pt x="271" y="66"/>
                </a:cubicBezTo>
                <a:lnTo>
                  <a:pt x="273" y="66"/>
                </a:lnTo>
                <a:close/>
                <a:moveTo>
                  <a:pt x="270" y="5"/>
                </a:moveTo>
                <a:cubicBezTo>
                  <a:pt x="265" y="5"/>
                  <a:pt x="265" y="6"/>
                  <a:pt x="265" y="9"/>
                </a:cubicBezTo>
                <a:cubicBezTo>
                  <a:pt x="265" y="26"/>
                  <a:pt x="265" y="26"/>
                  <a:pt x="265" y="26"/>
                </a:cubicBezTo>
                <a:cubicBezTo>
                  <a:pt x="269" y="26"/>
                  <a:pt x="269" y="26"/>
                  <a:pt x="269" y="26"/>
                </a:cubicBezTo>
                <a:cubicBezTo>
                  <a:pt x="288" y="26"/>
                  <a:pt x="301" y="28"/>
                  <a:pt x="301" y="47"/>
                </a:cubicBezTo>
                <a:cubicBezTo>
                  <a:pt x="301" y="66"/>
                  <a:pt x="291" y="71"/>
                  <a:pt x="274" y="71"/>
                </a:cubicBezTo>
                <a:cubicBezTo>
                  <a:pt x="246" y="71"/>
                  <a:pt x="246" y="71"/>
                  <a:pt x="246" y="71"/>
                </a:cubicBezTo>
                <a:cubicBezTo>
                  <a:pt x="246" y="68"/>
                  <a:pt x="246" y="68"/>
                  <a:pt x="246" y="68"/>
                </a:cubicBezTo>
                <a:cubicBezTo>
                  <a:pt x="249" y="68"/>
                  <a:pt x="250" y="67"/>
                  <a:pt x="250" y="63"/>
                </a:cubicBezTo>
                <a:cubicBezTo>
                  <a:pt x="250" y="9"/>
                  <a:pt x="250" y="9"/>
                  <a:pt x="250" y="9"/>
                </a:cubicBezTo>
                <a:cubicBezTo>
                  <a:pt x="250" y="5"/>
                  <a:pt x="249" y="4"/>
                  <a:pt x="246" y="3"/>
                </a:cubicBezTo>
                <a:cubicBezTo>
                  <a:pt x="246" y="1"/>
                  <a:pt x="246" y="1"/>
                  <a:pt x="246" y="1"/>
                </a:cubicBezTo>
                <a:cubicBezTo>
                  <a:pt x="298" y="1"/>
                  <a:pt x="298" y="1"/>
                  <a:pt x="298" y="1"/>
                </a:cubicBezTo>
                <a:cubicBezTo>
                  <a:pt x="298" y="6"/>
                  <a:pt x="298" y="11"/>
                  <a:pt x="298" y="16"/>
                </a:cubicBezTo>
                <a:cubicBezTo>
                  <a:pt x="294" y="16"/>
                  <a:pt x="294" y="16"/>
                  <a:pt x="294" y="16"/>
                </a:cubicBezTo>
                <a:cubicBezTo>
                  <a:pt x="293" y="13"/>
                  <a:pt x="293" y="13"/>
                  <a:pt x="293" y="13"/>
                </a:cubicBezTo>
                <a:cubicBezTo>
                  <a:pt x="291" y="6"/>
                  <a:pt x="289" y="5"/>
                  <a:pt x="279" y="5"/>
                </a:cubicBezTo>
                <a:lnTo>
                  <a:pt x="270" y="5"/>
                </a:lnTo>
                <a:close/>
                <a:moveTo>
                  <a:pt x="212" y="39"/>
                </a:moveTo>
                <a:cubicBezTo>
                  <a:pt x="222" y="39"/>
                  <a:pt x="224" y="31"/>
                  <a:pt x="224" y="20"/>
                </a:cubicBezTo>
                <a:cubicBezTo>
                  <a:pt x="224" y="11"/>
                  <a:pt x="221" y="5"/>
                  <a:pt x="211" y="5"/>
                </a:cubicBezTo>
                <a:cubicBezTo>
                  <a:pt x="210" y="5"/>
                  <a:pt x="210" y="5"/>
                  <a:pt x="210" y="5"/>
                </a:cubicBezTo>
                <a:cubicBezTo>
                  <a:pt x="207" y="5"/>
                  <a:pt x="205" y="6"/>
                  <a:pt x="205" y="9"/>
                </a:cubicBezTo>
                <a:cubicBezTo>
                  <a:pt x="205" y="39"/>
                  <a:pt x="205" y="39"/>
                  <a:pt x="205" y="39"/>
                </a:cubicBezTo>
                <a:lnTo>
                  <a:pt x="212" y="39"/>
                </a:lnTo>
                <a:close/>
                <a:moveTo>
                  <a:pt x="186" y="71"/>
                </a:moveTo>
                <a:cubicBezTo>
                  <a:pt x="186" y="68"/>
                  <a:pt x="186" y="68"/>
                  <a:pt x="186" y="68"/>
                </a:cubicBezTo>
                <a:cubicBezTo>
                  <a:pt x="190" y="68"/>
                  <a:pt x="190" y="67"/>
                  <a:pt x="190" y="63"/>
                </a:cubicBezTo>
                <a:cubicBezTo>
                  <a:pt x="190" y="9"/>
                  <a:pt x="190" y="9"/>
                  <a:pt x="190" y="9"/>
                </a:cubicBezTo>
                <a:cubicBezTo>
                  <a:pt x="190" y="5"/>
                  <a:pt x="190" y="4"/>
                  <a:pt x="186" y="3"/>
                </a:cubicBezTo>
                <a:cubicBezTo>
                  <a:pt x="186" y="1"/>
                  <a:pt x="186" y="1"/>
                  <a:pt x="186" y="1"/>
                </a:cubicBezTo>
                <a:cubicBezTo>
                  <a:pt x="215" y="1"/>
                  <a:pt x="215" y="1"/>
                  <a:pt x="215" y="1"/>
                </a:cubicBezTo>
                <a:cubicBezTo>
                  <a:pt x="229" y="1"/>
                  <a:pt x="240" y="4"/>
                  <a:pt x="240" y="21"/>
                </a:cubicBezTo>
                <a:cubicBezTo>
                  <a:pt x="240" y="38"/>
                  <a:pt x="229" y="43"/>
                  <a:pt x="212" y="43"/>
                </a:cubicBezTo>
                <a:cubicBezTo>
                  <a:pt x="205" y="43"/>
                  <a:pt x="205" y="43"/>
                  <a:pt x="205" y="43"/>
                </a:cubicBezTo>
                <a:cubicBezTo>
                  <a:pt x="205" y="63"/>
                  <a:pt x="205" y="63"/>
                  <a:pt x="205" y="63"/>
                </a:cubicBezTo>
                <a:cubicBezTo>
                  <a:pt x="205" y="67"/>
                  <a:pt x="206" y="68"/>
                  <a:pt x="209" y="68"/>
                </a:cubicBezTo>
                <a:cubicBezTo>
                  <a:pt x="209" y="71"/>
                  <a:pt x="209" y="71"/>
                  <a:pt x="209" y="71"/>
                </a:cubicBezTo>
                <a:lnTo>
                  <a:pt x="186" y="71"/>
                </a:lnTo>
                <a:close/>
                <a:moveTo>
                  <a:pt x="150" y="5"/>
                </a:moveTo>
                <a:cubicBezTo>
                  <a:pt x="147" y="5"/>
                  <a:pt x="146" y="6"/>
                  <a:pt x="146" y="8"/>
                </a:cubicBezTo>
                <a:cubicBezTo>
                  <a:pt x="146" y="30"/>
                  <a:pt x="146" y="30"/>
                  <a:pt x="146" y="30"/>
                </a:cubicBezTo>
                <a:cubicBezTo>
                  <a:pt x="155" y="30"/>
                  <a:pt x="155" y="30"/>
                  <a:pt x="155" y="30"/>
                </a:cubicBezTo>
                <a:cubicBezTo>
                  <a:pt x="159" y="30"/>
                  <a:pt x="165" y="30"/>
                  <a:pt x="168" y="28"/>
                </a:cubicBezTo>
                <a:cubicBezTo>
                  <a:pt x="168" y="37"/>
                  <a:pt x="168" y="37"/>
                  <a:pt x="168" y="37"/>
                </a:cubicBezTo>
                <a:cubicBezTo>
                  <a:pt x="165" y="35"/>
                  <a:pt x="159" y="35"/>
                  <a:pt x="155" y="35"/>
                </a:cubicBezTo>
                <a:cubicBezTo>
                  <a:pt x="146" y="35"/>
                  <a:pt x="146" y="35"/>
                  <a:pt x="146" y="35"/>
                </a:cubicBezTo>
                <a:cubicBezTo>
                  <a:pt x="146" y="61"/>
                  <a:pt x="146" y="61"/>
                  <a:pt x="146" y="61"/>
                </a:cubicBezTo>
                <a:cubicBezTo>
                  <a:pt x="146" y="65"/>
                  <a:pt x="148" y="66"/>
                  <a:pt x="157" y="66"/>
                </a:cubicBezTo>
                <a:cubicBezTo>
                  <a:pt x="159" y="66"/>
                  <a:pt x="159" y="66"/>
                  <a:pt x="159" y="66"/>
                </a:cubicBezTo>
                <a:cubicBezTo>
                  <a:pt x="168" y="66"/>
                  <a:pt x="170" y="66"/>
                  <a:pt x="172" y="57"/>
                </a:cubicBezTo>
                <a:cubicBezTo>
                  <a:pt x="173" y="54"/>
                  <a:pt x="173" y="54"/>
                  <a:pt x="173" y="54"/>
                </a:cubicBezTo>
                <a:cubicBezTo>
                  <a:pt x="177" y="54"/>
                  <a:pt x="177" y="54"/>
                  <a:pt x="177" y="54"/>
                </a:cubicBezTo>
                <a:cubicBezTo>
                  <a:pt x="177" y="60"/>
                  <a:pt x="177" y="65"/>
                  <a:pt x="177" y="71"/>
                </a:cubicBezTo>
                <a:cubicBezTo>
                  <a:pt x="127" y="71"/>
                  <a:pt x="127" y="71"/>
                  <a:pt x="127" y="71"/>
                </a:cubicBezTo>
                <a:cubicBezTo>
                  <a:pt x="127" y="68"/>
                  <a:pt x="127" y="68"/>
                  <a:pt x="127" y="68"/>
                </a:cubicBezTo>
                <a:cubicBezTo>
                  <a:pt x="131" y="68"/>
                  <a:pt x="131" y="67"/>
                  <a:pt x="131" y="63"/>
                </a:cubicBezTo>
                <a:cubicBezTo>
                  <a:pt x="131" y="9"/>
                  <a:pt x="131" y="9"/>
                  <a:pt x="131" y="9"/>
                </a:cubicBezTo>
                <a:cubicBezTo>
                  <a:pt x="131" y="5"/>
                  <a:pt x="131" y="4"/>
                  <a:pt x="127" y="3"/>
                </a:cubicBezTo>
                <a:cubicBezTo>
                  <a:pt x="127" y="1"/>
                  <a:pt x="127" y="1"/>
                  <a:pt x="127" y="1"/>
                </a:cubicBezTo>
                <a:cubicBezTo>
                  <a:pt x="176" y="1"/>
                  <a:pt x="176" y="1"/>
                  <a:pt x="176" y="1"/>
                </a:cubicBezTo>
                <a:cubicBezTo>
                  <a:pt x="176" y="6"/>
                  <a:pt x="176" y="11"/>
                  <a:pt x="176" y="16"/>
                </a:cubicBezTo>
                <a:cubicBezTo>
                  <a:pt x="172" y="16"/>
                  <a:pt x="172" y="16"/>
                  <a:pt x="172" y="16"/>
                </a:cubicBezTo>
                <a:cubicBezTo>
                  <a:pt x="171" y="13"/>
                  <a:pt x="171" y="13"/>
                  <a:pt x="171" y="13"/>
                </a:cubicBezTo>
                <a:cubicBezTo>
                  <a:pt x="169" y="6"/>
                  <a:pt x="166" y="5"/>
                  <a:pt x="157" y="5"/>
                </a:cubicBezTo>
                <a:lnTo>
                  <a:pt x="150" y="5"/>
                </a:lnTo>
                <a:close/>
                <a:moveTo>
                  <a:pt x="91" y="66"/>
                </a:moveTo>
                <a:cubicBezTo>
                  <a:pt x="100" y="66"/>
                  <a:pt x="104" y="60"/>
                  <a:pt x="104" y="48"/>
                </a:cubicBezTo>
                <a:cubicBezTo>
                  <a:pt x="104" y="37"/>
                  <a:pt x="100" y="30"/>
                  <a:pt x="89" y="30"/>
                </a:cubicBezTo>
                <a:cubicBezTo>
                  <a:pt x="83" y="30"/>
                  <a:pt x="83" y="30"/>
                  <a:pt x="83" y="30"/>
                </a:cubicBezTo>
                <a:cubicBezTo>
                  <a:pt x="83" y="60"/>
                  <a:pt x="83" y="60"/>
                  <a:pt x="83" y="60"/>
                </a:cubicBezTo>
                <a:cubicBezTo>
                  <a:pt x="83" y="65"/>
                  <a:pt x="84" y="66"/>
                  <a:pt x="89" y="66"/>
                </a:cubicBezTo>
                <a:lnTo>
                  <a:pt x="91" y="66"/>
                </a:lnTo>
                <a:close/>
                <a:moveTo>
                  <a:pt x="88" y="5"/>
                </a:moveTo>
                <a:cubicBezTo>
                  <a:pt x="83" y="5"/>
                  <a:pt x="83" y="6"/>
                  <a:pt x="83" y="9"/>
                </a:cubicBezTo>
                <a:cubicBezTo>
                  <a:pt x="83" y="26"/>
                  <a:pt x="83" y="26"/>
                  <a:pt x="83" y="26"/>
                </a:cubicBezTo>
                <a:cubicBezTo>
                  <a:pt x="86" y="26"/>
                  <a:pt x="86" y="26"/>
                  <a:pt x="86" y="26"/>
                </a:cubicBezTo>
                <a:cubicBezTo>
                  <a:pt x="106" y="26"/>
                  <a:pt x="119" y="28"/>
                  <a:pt x="119" y="47"/>
                </a:cubicBezTo>
                <a:cubicBezTo>
                  <a:pt x="119" y="66"/>
                  <a:pt x="109" y="71"/>
                  <a:pt x="92" y="71"/>
                </a:cubicBezTo>
                <a:cubicBezTo>
                  <a:pt x="64" y="71"/>
                  <a:pt x="64" y="71"/>
                  <a:pt x="64" y="71"/>
                </a:cubicBezTo>
                <a:cubicBezTo>
                  <a:pt x="64" y="68"/>
                  <a:pt x="64" y="68"/>
                  <a:pt x="64" y="68"/>
                </a:cubicBezTo>
                <a:cubicBezTo>
                  <a:pt x="67" y="68"/>
                  <a:pt x="68" y="67"/>
                  <a:pt x="68" y="63"/>
                </a:cubicBezTo>
                <a:cubicBezTo>
                  <a:pt x="68" y="9"/>
                  <a:pt x="68" y="9"/>
                  <a:pt x="68" y="9"/>
                </a:cubicBezTo>
                <a:cubicBezTo>
                  <a:pt x="68" y="5"/>
                  <a:pt x="67" y="4"/>
                  <a:pt x="64" y="3"/>
                </a:cubicBezTo>
                <a:cubicBezTo>
                  <a:pt x="64" y="1"/>
                  <a:pt x="64" y="1"/>
                  <a:pt x="64" y="1"/>
                </a:cubicBezTo>
                <a:cubicBezTo>
                  <a:pt x="116" y="1"/>
                  <a:pt x="116" y="1"/>
                  <a:pt x="116" y="1"/>
                </a:cubicBezTo>
                <a:cubicBezTo>
                  <a:pt x="115" y="6"/>
                  <a:pt x="115" y="11"/>
                  <a:pt x="116" y="16"/>
                </a:cubicBezTo>
                <a:cubicBezTo>
                  <a:pt x="112" y="16"/>
                  <a:pt x="112" y="16"/>
                  <a:pt x="112" y="16"/>
                </a:cubicBezTo>
                <a:cubicBezTo>
                  <a:pt x="111" y="13"/>
                  <a:pt x="111" y="13"/>
                  <a:pt x="111" y="13"/>
                </a:cubicBezTo>
                <a:cubicBezTo>
                  <a:pt x="109" y="6"/>
                  <a:pt x="106" y="5"/>
                  <a:pt x="97" y="5"/>
                </a:cubicBezTo>
                <a:lnTo>
                  <a:pt x="88" y="5"/>
                </a:lnTo>
                <a:close/>
                <a:moveTo>
                  <a:pt x="55" y="61"/>
                </a:moveTo>
                <a:cubicBezTo>
                  <a:pt x="57" y="66"/>
                  <a:pt x="57" y="66"/>
                  <a:pt x="57" y="66"/>
                </a:cubicBezTo>
                <a:cubicBezTo>
                  <a:pt x="51" y="70"/>
                  <a:pt x="42" y="72"/>
                  <a:pt x="33" y="72"/>
                </a:cubicBezTo>
                <a:cubicBezTo>
                  <a:pt x="13" y="72"/>
                  <a:pt x="0" y="61"/>
                  <a:pt x="0" y="37"/>
                </a:cubicBezTo>
                <a:cubicBezTo>
                  <a:pt x="0" y="14"/>
                  <a:pt x="10" y="0"/>
                  <a:pt x="35" y="0"/>
                </a:cubicBezTo>
                <a:cubicBezTo>
                  <a:pt x="46" y="0"/>
                  <a:pt x="53" y="2"/>
                  <a:pt x="55" y="3"/>
                </a:cubicBezTo>
                <a:cubicBezTo>
                  <a:pt x="55" y="8"/>
                  <a:pt x="55" y="13"/>
                  <a:pt x="55" y="17"/>
                </a:cubicBezTo>
                <a:cubicBezTo>
                  <a:pt x="51" y="17"/>
                  <a:pt x="51" y="17"/>
                  <a:pt x="51" y="17"/>
                </a:cubicBezTo>
                <a:cubicBezTo>
                  <a:pt x="50" y="13"/>
                  <a:pt x="50" y="13"/>
                  <a:pt x="50" y="13"/>
                </a:cubicBezTo>
                <a:cubicBezTo>
                  <a:pt x="48" y="8"/>
                  <a:pt x="45" y="4"/>
                  <a:pt x="35" y="4"/>
                </a:cubicBezTo>
                <a:cubicBezTo>
                  <a:pt x="21" y="4"/>
                  <a:pt x="17" y="15"/>
                  <a:pt x="17" y="34"/>
                </a:cubicBezTo>
                <a:cubicBezTo>
                  <a:pt x="17" y="52"/>
                  <a:pt x="20" y="65"/>
                  <a:pt x="38" y="65"/>
                </a:cubicBezTo>
                <a:cubicBezTo>
                  <a:pt x="46" y="65"/>
                  <a:pt x="51" y="63"/>
                  <a:pt x="55" y="61"/>
                </a:cubicBezTo>
              </a:path>
            </a:pathLst>
          </a:custGeom>
          <a:solidFill>
            <a:srgbClr val="0070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52479" tIns="26240" rIns="52479" bIns="26240" numCol="1" anchor="t" anchorCtr="0" compatLnSpc="1">
            <a:prstTxWarp prst="textNoShape">
              <a:avLst/>
            </a:prstTxWarp>
          </a:bodyPr>
          <a:lstStyle/>
          <a:p>
            <a:pPr defTabSz="514350" fontAlgn="base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27" name="Rectangle 39"/>
          <p:cNvSpPr>
            <a:spLocks noChangeArrowheads="1"/>
          </p:cNvSpPr>
          <p:nvPr/>
        </p:nvSpPr>
        <p:spPr bwMode="auto">
          <a:xfrm>
            <a:off x="6099503" y="848318"/>
            <a:ext cx="656516" cy="23628"/>
          </a:xfrm>
          <a:prstGeom prst="rect">
            <a:avLst/>
          </a:prstGeom>
          <a:solidFill>
            <a:srgbClr val="0070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2479" tIns="26240" rIns="52479" bIns="26240" numCol="1" anchor="t" anchorCtr="0" compatLnSpc="1">
            <a:prstTxWarp prst="textNoShape">
              <a:avLst/>
            </a:prstTxWarp>
          </a:bodyPr>
          <a:lstStyle/>
          <a:p>
            <a:pPr defTabSz="514350" fontAlgn="base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28" name="Freeform 40"/>
          <p:cNvSpPr>
            <a:spLocks noEditPoints="1"/>
          </p:cNvSpPr>
          <p:nvPr/>
        </p:nvSpPr>
        <p:spPr bwMode="auto">
          <a:xfrm>
            <a:off x="5874891" y="496698"/>
            <a:ext cx="173194" cy="435010"/>
          </a:xfrm>
          <a:custGeom>
            <a:avLst/>
            <a:gdLst>
              <a:gd name="T0" fmla="*/ 41 w 135"/>
              <a:gd name="T1" fmla="*/ 39 h 130"/>
              <a:gd name="T2" fmla="*/ 101 w 135"/>
              <a:gd name="T3" fmla="*/ 4 h 130"/>
              <a:gd name="T4" fmla="*/ 93 w 135"/>
              <a:gd name="T5" fmla="*/ 0 h 130"/>
              <a:gd name="T6" fmla="*/ 41 w 135"/>
              <a:gd name="T7" fmla="*/ 31 h 130"/>
              <a:gd name="T8" fmla="*/ 18 w 135"/>
              <a:gd name="T9" fmla="*/ 17 h 130"/>
              <a:gd name="T10" fmla="*/ 13 w 135"/>
              <a:gd name="T11" fmla="*/ 23 h 130"/>
              <a:gd name="T12" fmla="*/ 41 w 135"/>
              <a:gd name="T13" fmla="*/ 39 h 130"/>
              <a:gd name="T14" fmla="*/ 114 w 135"/>
              <a:gd name="T15" fmla="*/ 14 h 130"/>
              <a:gd name="T16" fmla="*/ 108 w 135"/>
              <a:gd name="T17" fmla="*/ 9 h 130"/>
              <a:gd name="T18" fmla="*/ 41 w 135"/>
              <a:gd name="T19" fmla="*/ 47 h 130"/>
              <a:gd name="T20" fmla="*/ 9 w 135"/>
              <a:gd name="T21" fmla="*/ 29 h 130"/>
              <a:gd name="T22" fmla="*/ 6 w 135"/>
              <a:gd name="T23" fmla="*/ 36 h 130"/>
              <a:gd name="T24" fmla="*/ 41 w 135"/>
              <a:gd name="T25" fmla="*/ 56 h 130"/>
              <a:gd name="T26" fmla="*/ 114 w 135"/>
              <a:gd name="T27" fmla="*/ 14 h 130"/>
              <a:gd name="T28" fmla="*/ 41 w 135"/>
              <a:gd name="T29" fmla="*/ 64 h 130"/>
              <a:gd name="T30" fmla="*/ 3 w 135"/>
              <a:gd name="T31" fmla="*/ 43 h 130"/>
              <a:gd name="T32" fmla="*/ 1 w 135"/>
              <a:gd name="T33" fmla="*/ 50 h 130"/>
              <a:gd name="T34" fmla="*/ 41 w 135"/>
              <a:gd name="T35" fmla="*/ 73 h 130"/>
              <a:gd name="T36" fmla="*/ 123 w 135"/>
              <a:gd name="T37" fmla="*/ 25 h 130"/>
              <a:gd name="T38" fmla="*/ 119 w 135"/>
              <a:gd name="T39" fmla="*/ 19 h 130"/>
              <a:gd name="T40" fmla="*/ 41 w 135"/>
              <a:gd name="T41" fmla="*/ 64 h 130"/>
              <a:gd name="T42" fmla="*/ 135 w 135"/>
              <a:gd name="T43" fmla="*/ 62 h 130"/>
              <a:gd name="T44" fmla="*/ 67 w 135"/>
              <a:gd name="T45" fmla="*/ 130 h 130"/>
              <a:gd name="T46" fmla="*/ 0 w 135"/>
              <a:gd name="T47" fmla="*/ 62 h 130"/>
              <a:gd name="T48" fmla="*/ 0 w 135"/>
              <a:gd name="T49" fmla="*/ 58 h 130"/>
              <a:gd name="T50" fmla="*/ 41 w 135"/>
              <a:gd name="T51" fmla="*/ 81 h 130"/>
              <a:gd name="T52" fmla="*/ 127 w 135"/>
              <a:gd name="T53" fmla="*/ 32 h 130"/>
              <a:gd name="T54" fmla="*/ 135 w 135"/>
              <a:gd name="T55" fmla="*/ 6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35" h="130">
                <a:moveTo>
                  <a:pt x="41" y="39"/>
                </a:moveTo>
                <a:cubicBezTo>
                  <a:pt x="101" y="4"/>
                  <a:pt x="101" y="4"/>
                  <a:pt x="101" y="4"/>
                </a:cubicBezTo>
                <a:cubicBezTo>
                  <a:pt x="99" y="3"/>
                  <a:pt x="96" y="1"/>
                  <a:pt x="93" y="0"/>
                </a:cubicBezTo>
                <a:cubicBezTo>
                  <a:pt x="41" y="31"/>
                  <a:pt x="41" y="31"/>
                  <a:pt x="41" y="31"/>
                </a:cubicBezTo>
                <a:cubicBezTo>
                  <a:pt x="18" y="17"/>
                  <a:pt x="18" y="17"/>
                  <a:pt x="18" y="17"/>
                </a:cubicBezTo>
                <a:cubicBezTo>
                  <a:pt x="16" y="19"/>
                  <a:pt x="14" y="21"/>
                  <a:pt x="13" y="23"/>
                </a:cubicBezTo>
                <a:lnTo>
                  <a:pt x="41" y="39"/>
                </a:lnTo>
                <a:close/>
                <a:moveTo>
                  <a:pt x="114" y="14"/>
                </a:moveTo>
                <a:cubicBezTo>
                  <a:pt x="112" y="12"/>
                  <a:pt x="110" y="10"/>
                  <a:pt x="108" y="9"/>
                </a:cubicBezTo>
                <a:cubicBezTo>
                  <a:pt x="41" y="47"/>
                  <a:pt x="41" y="47"/>
                  <a:pt x="41" y="47"/>
                </a:cubicBezTo>
                <a:cubicBezTo>
                  <a:pt x="9" y="29"/>
                  <a:pt x="9" y="29"/>
                  <a:pt x="9" y="29"/>
                </a:cubicBezTo>
                <a:cubicBezTo>
                  <a:pt x="8" y="31"/>
                  <a:pt x="7" y="33"/>
                  <a:pt x="6" y="36"/>
                </a:cubicBezTo>
                <a:cubicBezTo>
                  <a:pt x="41" y="56"/>
                  <a:pt x="41" y="56"/>
                  <a:pt x="41" y="56"/>
                </a:cubicBezTo>
                <a:lnTo>
                  <a:pt x="114" y="14"/>
                </a:lnTo>
                <a:close/>
                <a:moveTo>
                  <a:pt x="41" y="64"/>
                </a:moveTo>
                <a:cubicBezTo>
                  <a:pt x="3" y="43"/>
                  <a:pt x="3" y="43"/>
                  <a:pt x="3" y="43"/>
                </a:cubicBezTo>
                <a:cubicBezTo>
                  <a:pt x="2" y="45"/>
                  <a:pt x="2" y="47"/>
                  <a:pt x="1" y="50"/>
                </a:cubicBezTo>
                <a:cubicBezTo>
                  <a:pt x="41" y="73"/>
                  <a:pt x="41" y="73"/>
                  <a:pt x="41" y="73"/>
                </a:cubicBezTo>
                <a:cubicBezTo>
                  <a:pt x="123" y="25"/>
                  <a:pt x="123" y="25"/>
                  <a:pt x="123" y="25"/>
                </a:cubicBezTo>
                <a:cubicBezTo>
                  <a:pt x="122" y="23"/>
                  <a:pt x="121" y="21"/>
                  <a:pt x="119" y="19"/>
                </a:cubicBezTo>
                <a:lnTo>
                  <a:pt x="41" y="64"/>
                </a:lnTo>
                <a:close/>
                <a:moveTo>
                  <a:pt x="135" y="62"/>
                </a:moveTo>
                <a:cubicBezTo>
                  <a:pt x="135" y="99"/>
                  <a:pt x="104" y="130"/>
                  <a:pt x="67" y="130"/>
                </a:cubicBezTo>
                <a:cubicBezTo>
                  <a:pt x="30" y="130"/>
                  <a:pt x="0" y="99"/>
                  <a:pt x="0" y="62"/>
                </a:cubicBezTo>
                <a:cubicBezTo>
                  <a:pt x="0" y="61"/>
                  <a:pt x="0" y="59"/>
                  <a:pt x="0" y="58"/>
                </a:cubicBezTo>
                <a:cubicBezTo>
                  <a:pt x="41" y="81"/>
                  <a:pt x="41" y="81"/>
                  <a:pt x="41" y="81"/>
                </a:cubicBezTo>
                <a:cubicBezTo>
                  <a:pt x="127" y="32"/>
                  <a:pt x="127" y="32"/>
                  <a:pt x="127" y="32"/>
                </a:cubicBezTo>
                <a:cubicBezTo>
                  <a:pt x="132" y="41"/>
                  <a:pt x="135" y="51"/>
                  <a:pt x="135" y="62"/>
                </a:cubicBezTo>
              </a:path>
            </a:pathLst>
          </a:custGeom>
          <a:solidFill>
            <a:srgbClr val="0070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52479" tIns="26240" rIns="52479" bIns="26240" numCol="1" anchor="t" anchorCtr="0" compatLnSpc="1">
            <a:prstTxWarp prst="textNoShape">
              <a:avLst/>
            </a:prstTxWarp>
          </a:bodyPr>
          <a:lstStyle/>
          <a:p>
            <a:pPr defTabSz="514350" fontAlgn="base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rgbClr val="000000"/>
              </a:solidFill>
            </a:endParaRPr>
          </a:p>
        </p:txBody>
      </p:sp>
      <p:cxnSp>
        <p:nvCxnSpPr>
          <p:cNvPr id="24" name="Straight Connector 23"/>
          <p:cNvCxnSpPr>
            <a:cxnSpLocks/>
          </p:cNvCxnSpPr>
          <p:nvPr userDrawn="1"/>
        </p:nvCxnSpPr>
        <p:spPr>
          <a:xfrm>
            <a:off x="91184" y="1273789"/>
            <a:ext cx="6664834" cy="0"/>
          </a:xfrm>
          <a:prstGeom prst="line">
            <a:avLst/>
          </a:prstGeom>
          <a:ln w="6350">
            <a:solidFill>
              <a:srgbClr val="0070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6" name="Text Rectangle 286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1111621" y="2875408"/>
            <a:ext cx="3292326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1184" y="767877"/>
            <a:ext cx="5187539" cy="173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On-page tracker" hidden="1"/>
          <p:cNvSpPr>
            <a:spLocks noChangeArrowheads="1"/>
          </p:cNvSpPr>
          <p:nvPr userDrawn="1"/>
        </p:nvSpPr>
        <p:spPr bwMode="auto">
          <a:xfrm>
            <a:off x="91119" y="39774"/>
            <a:ext cx="485710" cy="1212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514350" fontAlgn="base">
              <a:spcBef>
                <a:spcPct val="0"/>
              </a:spcBef>
              <a:spcAft>
                <a:spcPct val="0"/>
              </a:spcAft>
            </a:pPr>
            <a:r>
              <a:rPr lang="ru-RU" sz="788" dirty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 userDrawn="1"/>
        </p:nvSpPr>
        <p:spPr bwMode="auto">
          <a:xfrm>
            <a:off x="91185" y="1242887"/>
            <a:ext cx="65955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808080"/>
                </a:solidFill>
                <a:cs typeface="Arial" panose="020B0604020202020204" pitchFamily="34" charset="0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111626" y="2115030"/>
            <a:ext cx="3263168" cy="294793"/>
            <a:chOff x="915" y="904"/>
            <a:chExt cx="2686" cy="126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904"/>
              <a:ext cx="2686" cy="1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51435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 defTabSz="51435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sp>
        <p:nvSpPr>
          <p:cNvPr id="14" name="Slide Number Placeholder 3"/>
          <p:cNvSpPr>
            <a:spLocks noGrp="1"/>
          </p:cNvSpPr>
          <p:nvPr userDrawn="1">
            <p:ph type="sldNum" sz="quarter" idx="4"/>
          </p:nvPr>
        </p:nvSpPr>
        <p:spPr>
          <a:xfrm>
            <a:off x="6577982" y="9556577"/>
            <a:ext cx="159757" cy="8662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563"/>
            </a:lvl1pPr>
          </a:lstStyle>
          <a:p>
            <a:pPr defTabSz="514350" fontAlgn="base">
              <a:spcBef>
                <a:spcPct val="0"/>
              </a:spcBef>
              <a:spcAft>
                <a:spcPct val="0"/>
              </a:spcAft>
              <a:defRPr/>
            </a:pPr>
            <a:fld id="{6D1B12DE-4EC1-4FB1-8606-1F019AF72BC4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</a:rPr>
              <a:pPr defTabSz="51435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25395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</p:sldLayoutIdLst>
  <p:hf hdr="0" ftr="0" dt="0"/>
  <p:txStyles>
    <p:titleStyle>
      <a:lvl1pPr algn="l" defTabSz="508967" rtl="0" eaLnBrk="1" fontAlgn="base" hangingPunct="1">
        <a:spcBef>
          <a:spcPct val="0"/>
        </a:spcBef>
        <a:spcAft>
          <a:spcPct val="0"/>
        </a:spcAft>
        <a:tabLst>
          <a:tab pos="203047" algn="l"/>
        </a:tabLst>
        <a:defRPr sz="1125" b="1">
          <a:solidFill>
            <a:srgbClr val="049536"/>
          </a:solidFill>
          <a:latin typeface="+mj-lt"/>
          <a:ea typeface="+mj-ea"/>
          <a:cs typeface="Arial" panose="020B0604020202020204" pitchFamily="34" charset="0"/>
        </a:defRPr>
      </a:lvl1pPr>
      <a:lvl2pPr algn="l" defTabSz="508967" rtl="0" eaLnBrk="1" fontAlgn="base" hangingPunct="1">
        <a:spcBef>
          <a:spcPct val="0"/>
        </a:spcBef>
        <a:spcAft>
          <a:spcPct val="0"/>
        </a:spcAft>
        <a:defRPr sz="1125" b="1">
          <a:solidFill>
            <a:schemeClr val="tx2"/>
          </a:solidFill>
          <a:latin typeface="Arial" charset="0"/>
        </a:defRPr>
      </a:lvl2pPr>
      <a:lvl3pPr algn="l" defTabSz="508967" rtl="0" eaLnBrk="1" fontAlgn="base" hangingPunct="1">
        <a:spcBef>
          <a:spcPct val="0"/>
        </a:spcBef>
        <a:spcAft>
          <a:spcPct val="0"/>
        </a:spcAft>
        <a:defRPr sz="1125" b="1">
          <a:solidFill>
            <a:schemeClr val="tx2"/>
          </a:solidFill>
          <a:latin typeface="Arial" charset="0"/>
        </a:defRPr>
      </a:lvl3pPr>
      <a:lvl4pPr algn="l" defTabSz="508967" rtl="0" eaLnBrk="1" fontAlgn="base" hangingPunct="1">
        <a:spcBef>
          <a:spcPct val="0"/>
        </a:spcBef>
        <a:spcAft>
          <a:spcPct val="0"/>
        </a:spcAft>
        <a:defRPr sz="1125" b="1">
          <a:solidFill>
            <a:schemeClr val="tx2"/>
          </a:solidFill>
          <a:latin typeface="Arial" charset="0"/>
        </a:defRPr>
      </a:lvl4pPr>
      <a:lvl5pPr algn="l" defTabSz="508967" rtl="0" eaLnBrk="1" fontAlgn="base" hangingPunct="1">
        <a:spcBef>
          <a:spcPct val="0"/>
        </a:spcBef>
        <a:spcAft>
          <a:spcPct val="0"/>
        </a:spcAft>
        <a:defRPr sz="1125" b="1">
          <a:solidFill>
            <a:schemeClr val="tx2"/>
          </a:solidFill>
          <a:latin typeface="Arial" charset="0"/>
        </a:defRPr>
      </a:lvl5pPr>
      <a:lvl6pPr marL="259873" algn="l" defTabSz="508967" rtl="0" eaLnBrk="1" fontAlgn="base" hangingPunct="1">
        <a:spcBef>
          <a:spcPct val="0"/>
        </a:spcBef>
        <a:spcAft>
          <a:spcPct val="0"/>
        </a:spcAft>
        <a:defRPr sz="1125" b="1">
          <a:solidFill>
            <a:schemeClr val="tx2"/>
          </a:solidFill>
          <a:latin typeface="Arial" charset="0"/>
        </a:defRPr>
      </a:lvl6pPr>
      <a:lvl7pPr marL="519794" algn="l" defTabSz="508967" rtl="0" eaLnBrk="1" fontAlgn="base" hangingPunct="1">
        <a:spcBef>
          <a:spcPct val="0"/>
        </a:spcBef>
        <a:spcAft>
          <a:spcPct val="0"/>
        </a:spcAft>
        <a:defRPr sz="1125" b="1">
          <a:solidFill>
            <a:schemeClr val="tx2"/>
          </a:solidFill>
          <a:latin typeface="Arial" charset="0"/>
        </a:defRPr>
      </a:lvl7pPr>
      <a:lvl8pPr marL="779694" algn="l" defTabSz="508967" rtl="0" eaLnBrk="1" fontAlgn="base" hangingPunct="1">
        <a:spcBef>
          <a:spcPct val="0"/>
        </a:spcBef>
        <a:spcAft>
          <a:spcPct val="0"/>
        </a:spcAft>
        <a:defRPr sz="1125" b="1">
          <a:solidFill>
            <a:schemeClr val="tx2"/>
          </a:solidFill>
          <a:latin typeface="Arial" charset="0"/>
        </a:defRPr>
      </a:lvl8pPr>
      <a:lvl9pPr marL="1039592" algn="l" defTabSz="508967" rtl="0" eaLnBrk="1" fontAlgn="base" hangingPunct="1">
        <a:spcBef>
          <a:spcPct val="0"/>
        </a:spcBef>
        <a:spcAft>
          <a:spcPct val="0"/>
        </a:spcAft>
        <a:defRPr sz="11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50896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9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10096" indent="-109195" algn="l" defTabSz="5089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900">
          <a:solidFill>
            <a:schemeClr val="tx1"/>
          </a:solidFill>
          <a:latin typeface="+mn-lt"/>
          <a:cs typeface="Arial" panose="020B0604020202020204" pitchFamily="34" charset="0"/>
        </a:defRPr>
      </a:lvl2pPr>
      <a:lvl3pPr marL="259873" indent="-148901" algn="l" defTabSz="5089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900">
          <a:solidFill>
            <a:schemeClr val="tx1"/>
          </a:solidFill>
          <a:latin typeface="+mn-lt"/>
          <a:cs typeface="Arial" panose="020B0604020202020204" pitchFamily="34" charset="0"/>
        </a:defRPr>
      </a:lvl3pPr>
      <a:lvl4pPr marL="349241" indent="-88442" algn="l" defTabSz="5089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900">
          <a:solidFill>
            <a:schemeClr val="tx1"/>
          </a:solidFill>
          <a:latin typeface="+mn-lt"/>
          <a:cs typeface="Arial" panose="020B0604020202020204" pitchFamily="34" charset="0"/>
        </a:defRPr>
      </a:lvl4pPr>
      <a:lvl5pPr marL="426234" indent="-73999" algn="l" defTabSz="508967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900">
          <a:solidFill>
            <a:schemeClr val="tx1"/>
          </a:solidFill>
          <a:latin typeface="+mn-lt"/>
          <a:cs typeface="Arial" panose="020B0604020202020204" pitchFamily="34" charset="0"/>
        </a:defRPr>
      </a:lvl5pPr>
      <a:lvl6pPr marL="426234" indent="-73999" algn="l" defTabSz="5089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900">
          <a:solidFill>
            <a:schemeClr val="tx1"/>
          </a:solidFill>
          <a:latin typeface="+mn-lt"/>
        </a:defRPr>
      </a:lvl6pPr>
      <a:lvl7pPr marL="426234" indent="-73999" algn="l" defTabSz="5089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900">
          <a:solidFill>
            <a:schemeClr val="tx1"/>
          </a:solidFill>
          <a:latin typeface="+mn-lt"/>
        </a:defRPr>
      </a:lvl7pPr>
      <a:lvl8pPr marL="426234" indent="-73999" algn="l" defTabSz="5089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900">
          <a:solidFill>
            <a:schemeClr val="tx1"/>
          </a:solidFill>
          <a:latin typeface="+mn-lt"/>
        </a:defRPr>
      </a:lvl8pPr>
      <a:lvl9pPr marL="426234" indent="-73999" algn="l" defTabSz="5089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9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19794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9873" algn="l" defTabSz="519794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9794" algn="l" defTabSz="519794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9694" algn="l" defTabSz="519794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39592" algn="l" defTabSz="519794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99493" algn="l" defTabSz="519794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59391" algn="l" defTabSz="519794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19290" algn="l" defTabSz="519794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79188" algn="l" defTabSz="519794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71488" y="527050"/>
            <a:ext cx="5915025" cy="191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71488" y="2636838"/>
            <a:ext cx="5915025" cy="6284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71488" y="9182100"/>
            <a:ext cx="1543050" cy="527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675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E4411CD2-5DF6-40DB-B562-BC3DB38196DB}" type="datetimeFigureOut">
              <a:rPr lang="ru-RU" smtClean="0"/>
              <a:pPr>
                <a:defRPr/>
              </a:pPr>
              <a:t>11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271713" y="9182100"/>
            <a:ext cx="2314575" cy="527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675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843463" y="9182100"/>
            <a:ext cx="1543050" cy="527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675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4AE1E66C-7D92-4149-8E8F-3222346DDB4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1624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</p:sldLayoutIdLst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 Light" panose="020F0302020204030204" pitchFamily="34" charset="0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 Light" panose="020F0302020204030204" pitchFamily="34" charset="0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 Light" panose="020F0302020204030204" pitchFamily="34" charset="0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514350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514350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514350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514350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28588" indent="-128588" algn="l" defTabSz="514350" rtl="0" eaLnBrk="0" fontAlgn="base" hangingPunct="0">
        <a:lnSpc>
          <a:spcPct val="90000"/>
        </a:lnSpc>
        <a:spcBef>
          <a:spcPts val="563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5763" indent="-128588" algn="l" defTabSz="514350" rtl="0" eaLnBrk="0" fontAlgn="base" hangingPunct="0">
        <a:lnSpc>
          <a:spcPct val="90000"/>
        </a:lnSpc>
        <a:spcBef>
          <a:spcPts val="2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514350" rtl="0" eaLnBrk="0" fontAlgn="base" hangingPunct="0">
        <a:lnSpc>
          <a:spcPct val="90000"/>
        </a:lnSpc>
        <a:spcBef>
          <a:spcPts val="275"/>
        </a:spcBef>
        <a:spcAft>
          <a:spcPct val="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514350" rtl="0" eaLnBrk="0" fontAlgn="base" hangingPunct="0">
        <a:lnSpc>
          <a:spcPct val="90000"/>
        </a:lnSpc>
        <a:spcBef>
          <a:spcPts val="275"/>
        </a:spcBef>
        <a:spcAft>
          <a:spcPct val="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514350" rtl="0" eaLnBrk="0" fontAlgn="base" hangingPunct="0">
        <a:lnSpc>
          <a:spcPct val="90000"/>
        </a:lnSpc>
        <a:spcBef>
          <a:spcPts val="275"/>
        </a:spcBef>
        <a:spcAft>
          <a:spcPct val="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mail.rambler.ru/#/folder/INBOX?utm_source=mail&amp;utm_campaign=self_promo&amp;utm_medium=topline&amp;utm_content=mail&amp;utm_term=profile_emai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539826" y="2642388"/>
            <a:ext cx="4318174" cy="72636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2654239" y="2816607"/>
            <a:ext cx="40010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200" b="1" dirty="0">
                <a:solidFill>
                  <a:srgbClr val="47526D"/>
                </a:solidFill>
                <a:latin typeface="Segoe UI Light" panose="020B0502040204020203" pitchFamily="34" charset="0"/>
              </a:rPr>
              <a:t>ПЕРЕЗАПУСК. Выпускной проект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0351" y="6104252"/>
            <a:ext cx="2469475" cy="15619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200" b="1" dirty="0">
                <a:solidFill>
                  <a:srgbClr val="47526D"/>
                </a:solidFill>
                <a:latin typeface="Segoe UI Light" panose="020B0502040204020203" pitchFamily="34" charset="0"/>
              </a:rPr>
              <a:t>Образование</a:t>
            </a:r>
          </a:p>
          <a:p>
            <a:pPr marL="171450" indent="-171450">
              <a:spcAft>
                <a:spcPts val="600"/>
              </a:spcAft>
              <a:buFontTx/>
              <a:buChar char="•"/>
              <a:defRPr/>
            </a:pP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Новосибирский колледж электроники, </a:t>
            </a:r>
            <a:r>
              <a:rPr lang="en-US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(</a:t>
            </a: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вычислительные машины, комплексы, системы и сети</a:t>
            </a:r>
            <a:r>
              <a:rPr lang="en-US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)</a:t>
            </a: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, 2003 год.</a:t>
            </a:r>
          </a:p>
          <a:p>
            <a:pPr marL="171450" indent="-171450">
              <a:spcAft>
                <a:spcPts val="600"/>
              </a:spcAft>
              <a:buFontTx/>
              <a:buChar char="•"/>
              <a:defRPr/>
            </a:pP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Новосибирский педагогический университет,(Правоведение) 2021 год</a:t>
            </a:r>
            <a:r>
              <a:rPr lang="en-US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.</a:t>
            </a:r>
            <a:endParaRPr lang="ru-RU" sz="1050" dirty="0">
              <a:solidFill>
                <a:srgbClr val="565656"/>
              </a:solidFill>
              <a:latin typeface="Segoe UI Light" panose="020B0502040204020203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0350" y="8391519"/>
            <a:ext cx="2469475" cy="907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200" b="1" dirty="0">
                <a:solidFill>
                  <a:srgbClr val="47526D"/>
                </a:solidFill>
                <a:latin typeface="Segoe UI Light" panose="020B0502040204020203" pitchFamily="34" charset="0"/>
              </a:rPr>
              <a:t>Иностранные языки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600"/>
              </a:spcAft>
              <a:buFontTx/>
              <a:buChar char="•"/>
              <a:defRPr/>
            </a:pPr>
            <a:r>
              <a:rPr lang="ru-RU" sz="1200" dirty="0">
                <a:solidFill>
                  <a:srgbClr val="565656"/>
                </a:solidFill>
                <a:latin typeface="Segoe UI Light" panose="020B0502040204020203" pitchFamily="34" charset="0"/>
              </a:rPr>
              <a:t>Английский язык</a:t>
            </a:r>
            <a:br>
              <a:rPr lang="ru-RU" sz="1200" dirty="0">
                <a:solidFill>
                  <a:srgbClr val="565656"/>
                </a:solidFill>
                <a:latin typeface="Segoe UI Light" panose="020B0502040204020203" pitchFamily="34" charset="0"/>
              </a:rPr>
            </a:br>
            <a:r>
              <a:rPr lang="ru-RU" sz="1200" dirty="0">
                <a:solidFill>
                  <a:srgbClr val="565656"/>
                </a:solidFill>
                <a:latin typeface="Segoe UI Light" panose="020B0502040204020203" pitchFamily="34" charset="0"/>
              </a:rPr>
              <a:t>уровень владения </a:t>
            </a:r>
            <a:r>
              <a:rPr lang="ru-RU" sz="120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– со словарём </a:t>
            </a:r>
            <a:endParaRPr lang="ru-RU" sz="1200" dirty="0">
              <a:solidFill>
                <a:srgbClr val="565656"/>
              </a:solidFill>
              <a:latin typeface="Segoe UI Light" panose="020B0502040204020203" pitchFamily="34" charset="0"/>
            </a:endParaRPr>
          </a:p>
        </p:txBody>
      </p:sp>
      <p:sp>
        <p:nvSpPr>
          <p:cNvPr id="19" name="Прямоугольный треугольник 18"/>
          <p:cNvSpPr/>
          <p:nvPr/>
        </p:nvSpPr>
        <p:spPr>
          <a:xfrm rot="16200000">
            <a:off x="5751798" y="8818716"/>
            <a:ext cx="961696" cy="961696"/>
          </a:xfrm>
          <a:prstGeom prst="rtTriangle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accent6">
                  <a:lumMod val="20000"/>
                  <a:lumOff val="80000"/>
                  <a:alpha val="57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Прямоугольный треугольник 20"/>
          <p:cNvSpPr/>
          <p:nvPr/>
        </p:nvSpPr>
        <p:spPr>
          <a:xfrm rot="5400000">
            <a:off x="260350" y="272382"/>
            <a:ext cx="961696" cy="961696"/>
          </a:xfrm>
          <a:prstGeom prst="rtTriangle">
            <a:avLst/>
          </a:prstGeom>
          <a:gradFill>
            <a:gsLst>
              <a:gs pos="0">
                <a:schemeClr val="tx2">
                  <a:lumMod val="40000"/>
                  <a:lumOff val="60000"/>
                </a:schemeClr>
              </a:gs>
              <a:gs pos="65000">
                <a:schemeClr val="accent6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306739" y="485752"/>
            <a:ext cx="1864895" cy="2188022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ru-RU" dirty="0"/>
              <a:t>Место для фото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574250" y="272382"/>
            <a:ext cx="41846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2E2E2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ихеев Олег </a:t>
            </a:r>
            <a:r>
              <a:rPr lang="ru-RU" b="1" dirty="0" err="1" smtClean="0">
                <a:solidFill>
                  <a:srgbClr val="2E2E2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натоьевич</a:t>
            </a:r>
            <a:endParaRPr lang="ru-RU" b="1" dirty="0">
              <a:solidFill>
                <a:srgbClr val="2E2E2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b="1" dirty="0">
                <a:solidFill>
                  <a:srgbClr val="2E2E2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ль - </a:t>
            </a:r>
            <a:r>
              <a:rPr lang="en-US" b="1" dirty="0">
                <a:solidFill>
                  <a:srgbClr val="2E2E2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Engineer</a:t>
            </a:r>
            <a:endParaRPr lang="ru-RU" b="1" dirty="0">
              <a:solidFill>
                <a:srgbClr val="2E2E2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4862" y="2816607"/>
            <a:ext cx="2482175" cy="23544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200" b="1" dirty="0">
                <a:solidFill>
                  <a:srgbClr val="47526D"/>
                </a:solidFill>
                <a:latin typeface="Segoe UI Light" panose="020B0502040204020203" pitchFamily="34" charset="0"/>
              </a:rPr>
              <a:t>Обо мне</a:t>
            </a:r>
          </a:p>
          <a:p>
            <a:pPr marL="171450" indent="-171450">
              <a:spcAft>
                <a:spcPts val="600"/>
              </a:spcAft>
              <a:buFontTx/>
              <a:buChar char="•"/>
              <a:defRPr/>
            </a:pPr>
            <a:r>
              <a:rPr lang="ru-RU" sz="1050" dirty="0">
                <a:solidFill>
                  <a:srgbClr val="565656"/>
                </a:solidFill>
                <a:latin typeface="Segoe UI Light" panose="020B0502040204020203" pitchFamily="34" charset="0"/>
              </a:rPr>
              <a:t>город </a:t>
            </a: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Новосибирск</a:t>
            </a:r>
            <a:endParaRPr lang="ru-RU" sz="1050" dirty="0">
              <a:solidFill>
                <a:srgbClr val="565656"/>
              </a:solidFill>
              <a:latin typeface="Segoe UI Light" panose="020B0502040204020203" pitchFamily="34" charset="0"/>
            </a:endParaRPr>
          </a:p>
          <a:p>
            <a:pPr marL="171450" indent="-171450">
              <a:spcAft>
                <a:spcPts val="600"/>
              </a:spcAft>
              <a:buFontTx/>
              <a:buChar char="•"/>
              <a:defRPr/>
            </a:pP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Готов к переезду практически в любой город</a:t>
            </a:r>
            <a:endParaRPr lang="ru-RU" sz="1050" dirty="0">
              <a:solidFill>
                <a:srgbClr val="565656"/>
              </a:solidFill>
              <a:latin typeface="Segoe UI Light" panose="020B0502040204020203" pitchFamily="34" charset="0"/>
            </a:endParaRPr>
          </a:p>
          <a:p>
            <a:pPr marL="171450" indent="-171450">
              <a:spcAft>
                <a:spcPts val="600"/>
              </a:spcAft>
              <a:buFontTx/>
              <a:buChar char="•"/>
              <a:defRPr/>
            </a:pP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19.04.1976 г.р.</a:t>
            </a:r>
            <a:endParaRPr lang="ru-RU" sz="1050" dirty="0">
              <a:solidFill>
                <a:srgbClr val="565656"/>
              </a:solidFill>
              <a:latin typeface="Segoe UI Light" panose="020B0502040204020203" pitchFamily="34" charset="0"/>
            </a:endParaRPr>
          </a:p>
          <a:p>
            <a:pPr marL="171450" indent="-171450">
              <a:spcAft>
                <a:spcPts val="600"/>
              </a:spcAft>
              <a:buFontTx/>
              <a:buChar char="•"/>
              <a:defRPr/>
            </a:pP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В настоящее время безработный, в </a:t>
            </a:r>
            <a:r>
              <a:rPr lang="ru-RU" sz="1050" dirty="0" err="1" smtClean="0">
                <a:solidFill>
                  <a:srgbClr val="565656"/>
                </a:solidFill>
                <a:latin typeface="Segoe UI Light" panose="020B0502040204020203" pitchFamily="34" charset="0"/>
              </a:rPr>
              <a:t>Сбере</a:t>
            </a: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 работал в отделе инкассации Сибирского банка, ведущий специалист.</a:t>
            </a:r>
            <a:endParaRPr lang="ru-RU" sz="1050" dirty="0">
              <a:solidFill>
                <a:srgbClr val="565656"/>
              </a:solidFill>
              <a:latin typeface="Segoe UI Light" panose="020B0502040204020203" pitchFamily="34" charset="0"/>
            </a:endParaRPr>
          </a:p>
          <a:p>
            <a:pPr marL="171450" indent="-171450">
              <a:spcAft>
                <a:spcPts val="600"/>
              </a:spcAft>
              <a:buFontTx/>
              <a:buChar char="•"/>
              <a:defRPr/>
            </a:pP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Тел. 8-913-484-45-48.</a:t>
            </a:r>
            <a:endParaRPr lang="ru-RU" sz="1050" dirty="0">
              <a:solidFill>
                <a:srgbClr val="565656"/>
              </a:solidFill>
              <a:latin typeface="Segoe UI Light" panose="020B0502040204020203" pitchFamily="34" charset="0"/>
            </a:endParaRPr>
          </a:p>
          <a:p>
            <a:pPr marL="171450" indent="-171450">
              <a:spcAft>
                <a:spcPts val="600"/>
              </a:spcAft>
              <a:buFontTx/>
              <a:buChar char="•"/>
              <a:defRPr/>
            </a:pPr>
            <a:r>
              <a:rPr lang="en-US" sz="1050" dirty="0">
                <a:hlinkClick r:id="rId3"/>
              </a:rPr>
              <a:t>oleganatolewich1@rambler.ru</a:t>
            </a:r>
            <a:endParaRPr lang="ru-RU" sz="1050" dirty="0">
              <a:solidFill>
                <a:srgbClr val="565656"/>
              </a:solidFill>
              <a:latin typeface="Segoe UI Light" panose="020B0502040204020203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4862" y="5255173"/>
            <a:ext cx="2464964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200" b="1" dirty="0">
                <a:solidFill>
                  <a:srgbClr val="47526D"/>
                </a:solidFill>
                <a:latin typeface="Segoe UI Light" panose="020B0502040204020203" pitchFamily="34" charset="0"/>
              </a:rPr>
              <a:t>Программы/среды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600"/>
              </a:spcAft>
              <a:buFontTx/>
              <a:buChar char="•"/>
              <a:defRPr/>
            </a:pP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ЦАС НСИ. «СТРЕЛА», АС КЦ</a:t>
            </a:r>
            <a:r>
              <a:rPr lang="ru-RU" sz="1050" dirty="0">
                <a:solidFill>
                  <a:srgbClr val="565656"/>
                </a:solidFill>
                <a:latin typeface="Segoe UI Light" panose="020B0502040204020203" pitchFamily="34" charset="0"/>
              </a:rPr>
              <a:t>,</a:t>
            </a: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 </a:t>
            </a:r>
            <a:r>
              <a:rPr lang="en-US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SAP HR</a:t>
            </a: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 </a:t>
            </a:r>
            <a:endParaRPr lang="ru-RU" sz="1050" dirty="0">
              <a:solidFill>
                <a:srgbClr val="565656"/>
              </a:solidFill>
              <a:latin typeface="Segoe UI Light" panose="020B0502040204020203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3844463"/>
              </p:ext>
            </p:extLst>
          </p:nvPr>
        </p:nvGraphicFramePr>
        <p:xfrm>
          <a:off x="2666094" y="4022618"/>
          <a:ext cx="4001000" cy="3157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67343">
                  <a:extLst>
                    <a:ext uri="{9D8B030D-6E8A-4147-A177-3AD203B41FA5}">
                      <a16:colId xmlns:a16="http://schemas.microsoft.com/office/drawing/2014/main" xmlns="" val="4105172019"/>
                    </a:ext>
                  </a:extLst>
                </a:gridCol>
                <a:gridCol w="1033657">
                  <a:extLst>
                    <a:ext uri="{9D8B030D-6E8A-4147-A177-3AD203B41FA5}">
                      <a16:colId xmlns:a16="http://schemas.microsoft.com/office/drawing/2014/main" xmlns="" val="2558166223"/>
                    </a:ext>
                  </a:extLst>
                </a:gridCol>
              </a:tblGrid>
              <a:tr h="525085">
                <a:tc>
                  <a:txBody>
                    <a:bodyPr/>
                    <a:lstStyle/>
                    <a:p>
                      <a:pPr eaLnBrk="1" fontAlgn="auto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defRPr/>
                      </a:pPr>
                      <a:r>
                        <a:rPr lang="ru-RU" sz="1200" b="1" dirty="0">
                          <a:solidFill>
                            <a:srgbClr val="47526D"/>
                          </a:solidFill>
                          <a:latin typeface="Segoe UI Light" panose="020B0502040204020203" pitchFamily="34" charset="0"/>
                        </a:rPr>
                        <a:t>Полученные знания/ навыки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b="1" kern="1200" dirty="0" smtClean="0">
                          <a:solidFill>
                            <a:srgbClr val="47526D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Самооценка</a:t>
                      </a:r>
                      <a:r>
                        <a:rPr lang="en-US" sz="1050" b="1" kern="1200" dirty="0" smtClean="0">
                          <a:solidFill>
                            <a:srgbClr val="47526D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 (1-10</a:t>
                      </a:r>
                      <a:r>
                        <a:rPr lang="en-US" sz="1050" b="1" kern="1200" dirty="0" smtClean="0">
                          <a:solidFill>
                            <a:srgbClr val="47526D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  <a:r>
                        <a:rPr lang="ru-RU" sz="1050" b="1" kern="1200" dirty="0" smtClean="0">
                          <a:solidFill>
                            <a:srgbClr val="47526D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     4</a:t>
                      </a:r>
                      <a:endParaRPr lang="ru-RU" sz="1050" b="1" kern="1200" dirty="0">
                        <a:solidFill>
                          <a:srgbClr val="47526D"/>
                        </a:solidFill>
                        <a:latin typeface="Segoe UI Light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53113786"/>
                  </a:ext>
                </a:extLst>
              </a:tr>
              <a:tr h="472870"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050" kern="1200" dirty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Основы построения </a:t>
                      </a:r>
                      <a:r>
                        <a:rPr lang="ru-RU" sz="1050" kern="120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БД</a:t>
                      </a:r>
                      <a:r>
                        <a:rPr lang="en-US" sz="1050" kern="120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/>
                      </a:r>
                      <a:br>
                        <a:rPr lang="en-US" sz="1050" kern="120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</a:br>
                      <a:endParaRPr lang="ru-RU" sz="1050" kern="1200" dirty="0">
                        <a:solidFill>
                          <a:srgbClr val="565656"/>
                        </a:solidFill>
                        <a:latin typeface="Segoe UI Light" panose="020B0502040204020203" pitchFamily="34" charset="0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kern="120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SQL </a:t>
                      </a:r>
                      <a:r>
                        <a:rPr lang="en-US" sz="1050" kern="120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/>
                      </a:r>
                      <a:br>
                        <a:rPr lang="en-US" sz="1050" kern="120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</a:br>
                      <a:r>
                        <a:rPr lang="ru-RU" sz="1013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  <a:endParaRPr lang="en-US" sz="1013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PL\SQL</a:t>
                      </a:r>
                      <a:br>
                        <a:rPr lang="en-US" sz="1000" kern="120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</a:br>
                      <a:endParaRPr lang="en-US" sz="1000" kern="1200" dirty="0" smtClean="0">
                        <a:solidFill>
                          <a:srgbClr val="565656"/>
                        </a:solidFill>
                        <a:latin typeface="Segoe UI Light" panose="020B0502040204020203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Работа с </a:t>
                      </a:r>
                      <a:r>
                        <a:rPr lang="en-US" sz="1000" kern="120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Oracle 	</a:t>
                      </a:r>
                      <a:br>
                        <a:rPr lang="en-US" sz="1000" kern="120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</a:br>
                      <a:endParaRPr lang="en-US" sz="1000" kern="1200" dirty="0" smtClean="0">
                        <a:solidFill>
                          <a:srgbClr val="565656"/>
                        </a:solidFill>
                        <a:latin typeface="Segoe UI Light" panose="020B0502040204020203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Основы </a:t>
                      </a:r>
                      <a:r>
                        <a:rPr lang="en-US" sz="1000" kern="120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DevOps 	</a:t>
                      </a:r>
                      <a:br>
                        <a:rPr lang="en-US" sz="1000" kern="120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</a:br>
                      <a:endParaRPr lang="en-US" sz="1000" kern="1200" dirty="0" smtClean="0">
                        <a:solidFill>
                          <a:srgbClr val="565656"/>
                        </a:solidFill>
                        <a:latin typeface="Segoe UI Light" panose="020B0502040204020203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Основы</a:t>
                      </a:r>
                      <a:r>
                        <a:rPr lang="ru-RU" sz="1000" kern="1200" baseline="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kern="1200" dirty="0" smtClean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Python </a:t>
                      </a:r>
                      <a:r>
                        <a:rPr lang="en-US" sz="1013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 marL="9525" marR="9525" marT="9525" marB="0" anchor="ctr"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761896927"/>
                  </a:ext>
                </a:extLst>
              </a:tr>
              <a:tr h="919798">
                <a:tc>
                  <a:txBody>
                    <a:bodyPr/>
                    <a:lstStyle/>
                    <a:p>
                      <a:pPr marL="0" marR="0" lvl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>
                          <a:solidFill>
                            <a:srgbClr val="565656"/>
                          </a:solidFill>
                          <a:latin typeface="Segoe UI Light" panose="020B0502040204020203" pitchFamily="34" charset="0"/>
                        </a:rPr>
                        <a:t>Выше указаны основные тематические разделы в программе  ПЕРЕЗАПУСК. Вы можете дополнить перечень знаниями и навыками, полученными вами из внешних источников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T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2123732163"/>
                  </a:ext>
                </a:extLst>
              </a:tr>
            </a:tbl>
          </a:graphicData>
        </a:graphic>
      </p:graphicFrame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712DA44A-DE82-D444-BE93-8C6BFE97B373}"/>
              </a:ext>
            </a:extLst>
          </p:cNvPr>
          <p:cNvSpPr/>
          <p:nvPr/>
        </p:nvSpPr>
        <p:spPr>
          <a:xfrm>
            <a:off x="92071" y="7631566"/>
            <a:ext cx="2464964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47526D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Курсы по </a:t>
            </a:r>
            <a:r>
              <a:rPr lang="en-US" sz="1200" b="1" dirty="0">
                <a:solidFill>
                  <a:srgbClr val="47526D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</a:t>
            </a:r>
            <a:endParaRPr lang="ru-RU" sz="1200" b="1" dirty="0">
              <a:solidFill>
                <a:srgbClr val="47526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Нет</a:t>
            </a:r>
            <a:endParaRPr lang="ru-RU" sz="1050" dirty="0">
              <a:solidFill>
                <a:srgbClr val="565656"/>
              </a:solidFill>
              <a:latin typeface="Segoe UI Light" panose="020B0502040204020203" pitchFamily="34" charset="0"/>
            </a:endParaRPr>
          </a:p>
          <a:p>
            <a:r>
              <a:rPr lang="en-US" sz="1200" b="1" dirty="0">
                <a:solidFill>
                  <a:srgbClr val="47526D"/>
                </a:solidFill>
              </a:rPr>
              <a:t> </a:t>
            </a:r>
            <a:endParaRPr lang="ru-RU" sz="1200" b="1" dirty="0">
              <a:solidFill>
                <a:srgbClr val="47526D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F12EC47F-011D-614B-BA14-0F5D88E8EB67}"/>
              </a:ext>
            </a:extLst>
          </p:cNvPr>
          <p:cNvSpPr txBox="1"/>
          <p:nvPr/>
        </p:nvSpPr>
        <p:spPr>
          <a:xfrm>
            <a:off x="2677948" y="8379490"/>
            <a:ext cx="397729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200" b="1" dirty="0">
                <a:solidFill>
                  <a:srgbClr val="47526D"/>
                </a:solidFill>
                <a:latin typeface="Segoe UI Light" panose="020B0502040204020203" pitchFamily="34" charset="0"/>
              </a:rPr>
              <a:t>Мой путь развития в роли </a:t>
            </a:r>
            <a:r>
              <a:rPr lang="en-US" sz="1200" b="1" dirty="0">
                <a:solidFill>
                  <a:srgbClr val="47526D"/>
                </a:solidFill>
                <a:latin typeface="Segoe UI Light" panose="020B0502040204020203" pitchFamily="34" charset="0"/>
              </a:rPr>
              <a:t>DE</a:t>
            </a:r>
            <a:endParaRPr lang="ru-RU" sz="1200" b="1" dirty="0">
              <a:solidFill>
                <a:srgbClr val="47526D"/>
              </a:solidFill>
              <a:latin typeface="Segoe UI Light" panose="020B0502040204020203" pitchFamily="34" charset="0"/>
            </a:endParaRPr>
          </a:p>
          <a:p>
            <a:pPr marL="171450" indent="-1714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Изучил всё, что было в рамках курса (и немного больше)</a:t>
            </a:r>
            <a:endParaRPr lang="ru-RU" sz="1050" dirty="0">
              <a:solidFill>
                <a:srgbClr val="565656"/>
              </a:solidFill>
              <a:latin typeface="Segoe UI Light" panose="020B0502040204020203" pitchFamily="34" charset="0"/>
            </a:endParaRPr>
          </a:p>
          <a:p>
            <a:pPr marL="171450" indent="-1714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Знаю, что ничего не знаю – буду продолжать самостоятельно учиться всему, что нужно знать </a:t>
            </a:r>
            <a:r>
              <a:rPr lang="en-US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DE. </a:t>
            </a:r>
            <a:r>
              <a:rPr lang="ru-RU" sz="1050" dirty="0" smtClean="0">
                <a:solidFill>
                  <a:srgbClr val="565656"/>
                </a:solidFill>
                <a:latin typeface="Segoe UI Light" panose="020B0502040204020203" pitchFamily="34" charset="0"/>
              </a:rPr>
              <a:t>И даже больше.</a:t>
            </a:r>
            <a:endParaRPr lang="ru-RU" sz="1050" dirty="0">
              <a:solidFill>
                <a:srgbClr val="565656"/>
              </a:solidFill>
              <a:latin typeface="Segoe UI Light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4906AE96-B661-F44D-9540-C9577B4AF75D}"/>
              </a:ext>
            </a:extLst>
          </p:cNvPr>
          <p:cNvSpPr txBox="1"/>
          <p:nvPr/>
        </p:nvSpPr>
        <p:spPr>
          <a:xfrm>
            <a:off x="2171634" y="1498969"/>
            <a:ext cx="45870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0A1428"/>
                </a:solidFill>
              </a:rPr>
              <a:t>Характеристика</a:t>
            </a:r>
            <a:r>
              <a:rPr lang="ru-RU" b="1" dirty="0">
                <a:solidFill>
                  <a:srgbClr val="0A1428"/>
                </a:solidFill>
              </a:rPr>
              <a:t> </a:t>
            </a:r>
            <a:r>
              <a:rPr lang="ru-RU" sz="1200" b="1" dirty="0">
                <a:solidFill>
                  <a:srgbClr val="0A1428"/>
                </a:solidFill>
              </a:rPr>
              <a:t>выпускника </a:t>
            </a:r>
            <a:r>
              <a:rPr lang="ru-RU" sz="1200" dirty="0">
                <a:solidFill>
                  <a:srgbClr val="0A1428"/>
                </a:solidFill>
              </a:rPr>
              <a:t>(включает оценку  преподавателя</a:t>
            </a:r>
            <a:r>
              <a:rPr lang="en-US" sz="1200" dirty="0">
                <a:solidFill>
                  <a:srgbClr val="0A1428"/>
                </a:solidFill>
              </a:rPr>
              <a:t> </a:t>
            </a:r>
            <a:endParaRPr lang="ru-RU" sz="1200" dirty="0">
              <a:solidFill>
                <a:srgbClr val="0A1428"/>
              </a:solidFill>
            </a:endParaRPr>
          </a:p>
          <a:p>
            <a:r>
              <a:rPr lang="ru-RU" sz="1200" dirty="0">
                <a:solidFill>
                  <a:srgbClr val="0A1428"/>
                </a:solidFill>
              </a:rPr>
              <a:t> и </a:t>
            </a:r>
            <a:r>
              <a:rPr lang="ru-RU" sz="1200" dirty="0" err="1">
                <a:solidFill>
                  <a:srgbClr val="0A1428"/>
                </a:solidFill>
              </a:rPr>
              <a:t>профоценку</a:t>
            </a:r>
            <a:r>
              <a:rPr lang="ru-RU" sz="1200" dirty="0">
                <a:solidFill>
                  <a:srgbClr val="0A1428"/>
                </a:solidFill>
              </a:rPr>
              <a:t> </a:t>
            </a:r>
            <a:r>
              <a:rPr lang="en" sz="1200" dirty="0" err="1">
                <a:solidFill>
                  <a:srgbClr val="0A1428"/>
                </a:solidFill>
              </a:rPr>
              <a:t>SberProfi</a:t>
            </a:r>
            <a:r>
              <a:rPr lang="ru-RU" sz="1200" dirty="0">
                <a:solidFill>
                  <a:srgbClr val="0A1428"/>
                </a:solidFill>
              </a:rPr>
              <a:t>). </a:t>
            </a:r>
            <a:r>
              <a:rPr lang="ru-RU" sz="1200" dirty="0">
                <a:solidFill>
                  <a:srgbClr val="FF0000"/>
                </a:solidFill>
              </a:rPr>
              <a:t>Заполняется специалистом </a:t>
            </a:r>
            <a:r>
              <a:rPr lang="en-US" sz="1200" dirty="0">
                <a:solidFill>
                  <a:srgbClr val="FF0000"/>
                </a:solidFill>
              </a:rPr>
              <a:t>HR</a:t>
            </a:r>
            <a:r>
              <a:rPr lang="ru-RU" sz="1200" dirty="0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4" y="404609"/>
            <a:ext cx="1495425" cy="1916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18840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0304</TotalTime>
  <Words>190</Words>
  <Application>Microsoft Office PowerPoint</Application>
  <PresentationFormat>Лист A4 (210x297 мм)</PresentationFormat>
  <Paragraphs>39</Paragraphs>
  <Slides>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4" baseType="lpstr">
      <vt:lpstr>Firm Format - Russian</vt:lpstr>
      <vt:lpstr>Тема Office</vt:lpstr>
      <vt:lpstr>think-cell Slide</vt:lpstr>
      <vt:lpstr>Презентация PowerPoint</vt:lpstr>
    </vt:vector>
  </TitlesOfParts>
  <Company>Сбербанк России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рхипова Елена Юрьевна</dc:creator>
  <cp:lastModifiedBy>Pit</cp:lastModifiedBy>
  <cp:revision>2523</cp:revision>
  <cp:lastPrinted>2017-08-14T10:14:36Z</cp:lastPrinted>
  <dcterms:created xsi:type="dcterms:W3CDTF">2016-12-21T14:04:08Z</dcterms:created>
  <dcterms:modified xsi:type="dcterms:W3CDTF">2021-05-11T12:01:04Z</dcterms:modified>
</cp:coreProperties>
</file>